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1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  <p:sldMasterId id="2147483678" r:id="rId5"/>
  </p:sldMasterIdLst>
  <p:notesMasterIdLst>
    <p:notesMasterId r:id="rId16"/>
  </p:notesMasterIdLst>
  <p:sldIdLst>
    <p:sldId id="445" r:id="rId6"/>
    <p:sldId id="924" r:id="rId7"/>
    <p:sldId id="418" r:id="rId8"/>
    <p:sldId id="921" r:id="rId9"/>
    <p:sldId id="360" r:id="rId10"/>
    <p:sldId id="922" r:id="rId11"/>
    <p:sldId id="836" r:id="rId12"/>
    <p:sldId id="923" r:id="rId13"/>
    <p:sldId id="453" r:id="rId14"/>
    <p:sldId id="876" r:id="rId1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4561" autoAdjust="0"/>
    <p:restoredTop sz="86432" autoAdjust="0"/>
  </p:normalViewPr>
  <p:slideViewPr>
    <p:cSldViewPr snapToGrid="0">
      <p:cViewPr varScale="1">
        <p:scale>
          <a:sx n="48" d="100"/>
          <a:sy n="48" d="100"/>
        </p:scale>
        <p:origin x="139" y="499"/>
      </p:cViewPr>
      <p:guideLst/>
    </p:cSldViewPr>
  </p:slideViewPr>
  <p:outlineViewPr>
    <p:cViewPr>
      <p:scale>
        <a:sx n="33" d="100"/>
        <a:sy n="33" d="100"/>
      </p:scale>
      <p:origin x="0" y="-4554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888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9A3BBE8-E3F9-40B0-8790-C0D813595873}" type="datetimeFigureOut">
              <a:rPr lang="en-US" smtClean="0"/>
              <a:t>12/10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25BA6C1-63A5-470A-BE68-AA46C7B4E21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78912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2.emf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.bin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png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2.emf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.svg"/><Relationship Id="rId4" Type="http://schemas.openxmlformats.org/officeDocument/2006/relationships/image" Target="../media/image1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Image/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50824F02-0181-44BD-9ABC-EEC74F15F8B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lIns="72000" tIns="72000" rIns="72000" bIns="72000"/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0131425" algn="l"/>
              </a:tabLst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/>
              <a:t>Click on the icon to insert picture</a:t>
            </a:r>
            <a:br>
              <a:rPr lang="en-AU"/>
            </a:br>
            <a:r>
              <a:rPr lang="en-AU"/>
              <a:t>Right click on the picture and send to back</a:t>
            </a:r>
            <a:br>
              <a:rPr lang="en-AU"/>
            </a:br>
            <a:r>
              <a:rPr lang="en-AU"/>
              <a:t>Delete if not in use</a:t>
            </a:r>
          </a:p>
          <a:p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F452250-356C-4D44-B098-759ACB8C5A5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7459" y="682683"/>
            <a:ext cx="2056571" cy="909637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94DBA2E6-22A7-4651-9E57-13FAFDF79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59005" y="1984917"/>
            <a:ext cx="7288702" cy="4030121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lang="en-US" sz="600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80000"/>
              </a:lnSpc>
              <a:spcBef>
                <a:spcPts val="3600"/>
              </a:spcBef>
              <a:buFont typeface="Arial" panose="020B0604020202020204" pitchFamily="34" charset="0"/>
              <a:buNone/>
              <a:defRPr lang="en-US" sz="2200" kern="1200" cap="none" dirty="0" smtClean="0">
                <a:solidFill>
                  <a:schemeClr val="bg1"/>
                </a:solidFill>
                <a:latin typeface="+mn-lt"/>
                <a:ea typeface="+mn-ea"/>
                <a:cs typeface="Segoe UI Semibold" panose="020B0702040204020203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8307603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 - Image/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539EAB8-624A-4BA9-81EA-D3C01758735B}"/>
              </a:ext>
            </a:extLst>
          </p:cNvPr>
          <p:cNvSpPr/>
          <p:nvPr userDrawn="1"/>
        </p:nvSpPr>
        <p:spPr>
          <a:xfrm>
            <a:off x="5626358" y="1746017"/>
            <a:ext cx="6565642" cy="3834882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1163BE28-18CA-420A-A008-9FFEA87F11AD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1746018"/>
            <a:ext cx="5626358" cy="3834882"/>
          </a:xfrm>
          <a:prstGeom prst="rect">
            <a:avLst/>
          </a:prstGeom>
          <a:solidFill>
            <a:schemeClr val="bg2"/>
          </a:solidFill>
        </p:spPr>
        <p:txBody>
          <a:bodyPr lIns="72000" tIns="72000" rIns="72000" bIns="72000"/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0131425" algn="l"/>
              </a:tabLst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/>
              <a:t>Click on the icon to insert picture</a:t>
            </a:r>
            <a:br>
              <a:rPr lang="en-AU"/>
            </a:br>
            <a:endParaRPr lang="en-AU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2ECAD92-B00F-42A2-AE7D-22A0F33543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38247" y="3149316"/>
            <a:ext cx="4741863" cy="1414683"/>
          </a:xfrm>
          <a:prstGeom prst="rect">
            <a:avLst/>
          </a:prstGeom>
        </p:spPr>
        <p:txBody>
          <a:bodyPr anchor="ctr">
            <a:spAutoFit/>
          </a:bodyPr>
          <a:lstStyle>
            <a:lvl1pPr marL="446088" indent="-4460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+mj-lt"/>
              <a:buAutoNum type="arabicPeriod"/>
              <a:defRPr lang="en-US" sz="3600" kern="1200" cap="none" smtClean="0">
                <a:solidFill>
                  <a:prstClr val="white"/>
                </a:solidFill>
                <a:latin typeface="+mj-lt"/>
                <a:ea typeface="+mj-ea"/>
                <a:cs typeface="+mj-cs"/>
              </a:defRPr>
            </a:lvl1pPr>
            <a:lvl2pPr marL="444500" indent="0" algn="l" defTabSz="914400" rtl="0" eaLnBrk="1" latinLnBrk="0" hangingPunct="1">
              <a:lnSpc>
                <a:spcPct val="70000"/>
              </a:lnSpc>
              <a:spcBef>
                <a:spcPts val="1200"/>
              </a:spcBef>
              <a:buClr>
                <a:schemeClr val="accent4"/>
              </a:buClr>
              <a:buNone/>
              <a:defRPr lang="en-US" sz="2400" kern="1200" dirty="0" smtClean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2pPr>
            <a:lvl3pPr marL="712788" algn="l" defTabSz="914400" rtl="0" eaLnBrk="1" latinLnBrk="0" hangingPunct="1">
              <a:lnSpc>
                <a:spcPct val="70000"/>
              </a:lnSpc>
              <a:spcBef>
                <a:spcPts val="1200"/>
              </a:spcBef>
              <a:buClr>
                <a:schemeClr val="accent4"/>
              </a:buClr>
              <a:defRPr lang="en-US" sz="2400" kern="1200" dirty="0" smtClean="0">
                <a:solidFill>
                  <a:srgbClr val="71984A"/>
                </a:solidFill>
                <a:latin typeface="+mn-lt"/>
                <a:ea typeface="+mj-ea"/>
                <a:cs typeface="+mj-cs"/>
              </a:defRPr>
            </a:lvl3pPr>
            <a:lvl4pPr marL="712788" algn="l" defTabSz="914400" rtl="0" eaLnBrk="1" latinLnBrk="0" hangingPunct="1">
              <a:lnSpc>
                <a:spcPct val="70000"/>
              </a:lnSpc>
              <a:spcBef>
                <a:spcPts val="1200"/>
              </a:spcBef>
              <a:buClr>
                <a:schemeClr val="accent4"/>
              </a:buClr>
              <a:defRPr lang="en-US" sz="2400" kern="1200" dirty="0" smtClean="0">
                <a:solidFill>
                  <a:srgbClr val="71984A"/>
                </a:solidFill>
                <a:latin typeface="+mn-lt"/>
                <a:ea typeface="+mj-ea"/>
                <a:cs typeface="+mj-cs"/>
              </a:defRPr>
            </a:lvl4pPr>
            <a:lvl5pPr marL="712788" algn="l" defTabSz="914400" rtl="0" eaLnBrk="1" latinLnBrk="0" hangingPunct="1">
              <a:lnSpc>
                <a:spcPct val="70000"/>
              </a:lnSpc>
              <a:spcBef>
                <a:spcPts val="1200"/>
              </a:spcBef>
              <a:buClr>
                <a:schemeClr val="accent4"/>
              </a:buClr>
              <a:defRPr lang="en-AU" sz="2400" kern="1200" dirty="0">
                <a:solidFill>
                  <a:srgbClr val="71984A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C62D088-677D-4B9E-A341-D599DDCF1968}"/>
              </a:ext>
            </a:extLst>
          </p:cNvPr>
          <p:cNvGrpSpPr/>
          <p:nvPr userDrawn="1"/>
        </p:nvGrpSpPr>
        <p:grpSpPr>
          <a:xfrm>
            <a:off x="-2878934" y="2864682"/>
            <a:ext cx="2685426" cy="3972150"/>
            <a:chOff x="-3213913" y="2727414"/>
            <a:chExt cx="2685426" cy="3972150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81870783-AE61-4A6F-A503-64EE030B34F2}"/>
                </a:ext>
              </a:extLst>
            </p:cNvPr>
            <p:cNvGrpSpPr/>
            <p:nvPr userDrawn="1"/>
          </p:nvGrpSpPr>
          <p:grpSpPr>
            <a:xfrm>
              <a:off x="-3213913" y="2727414"/>
              <a:ext cx="2685426" cy="3972150"/>
              <a:chOff x="-3171151" y="1910451"/>
              <a:chExt cx="2685426" cy="3972150"/>
            </a:xfrm>
          </p:grpSpPr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C2E2979-4C8A-4382-AC60-7AA37B6F7915}"/>
                  </a:ext>
                </a:extLst>
              </p:cNvPr>
              <p:cNvSpPr txBox="1"/>
              <p:nvPr userDrawn="1"/>
            </p:nvSpPr>
            <p:spPr>
              <a:xfrm>
                <a:off x="-3171151" y="1910451"/>
                <a:ext cx="2685425" cy="15696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AU" sz="1200">
                    <a:latin typeface="+mj-lt"/>
                  </a:rPr>
                  <a:t>To change section numbers:</a:t>
                </a:r>
              </a:p>
              <a:p>
                <a:r>
                  <a:rPr lang="en-AU" sz="1200"/>
                  <a:t>Under the home menu in the ribbon, in the paragraph section 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AU" sz="1200"/>
                  <a:t>click on the drop down </a:t>
                </a:r>
                <a:br>
                  <a:rPr lang="en-AU" sz="1200"/>
                </a:br>
                <a:r>
                  <a:rPr lang="en-AU" sz="1200"/>
                  <a:t>arrow in ‘numbering’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AU" sz="1200"/>
                  <a:t>Select ‘ bullets and numbering’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AU" sz="1200"/>
                  <a:t>Use the arrows to change the starting number</a:t>
                </a:r>
              </a:p>
            </p:txBody>
          </p:sp>
          <p:pic>
            <p:nvPicPr>
              <p:cNvPr id="11" name="Picture 10">
                <a:extLst>
                  <a:ext uri="{FF2B5EF4-FFF2-40B4-BE49-F238E27FC236}">
                    <a16:creationId xmlns:a16="http://schemas.microsoft.com/office/drawing/2014/main" id="{4FADC299-9D73-4378-8685-7AA568051F5D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1484"/>
              <a:stretch/>
            </p:blipFill>
            <p:spPr>
              <a:xfrm>
                <a:off x="-3171150" y="3510960"/>
                <a:ext cx="2685425" cy="237164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2787472E-40D7-41A4-A982-885F3602FE7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"/>
              <a:stretch>
                <a:fillRect/>
              </a:stretch>
            </p:blipFill>
            <p:spPr>
              <a:xfrm>
                <a:off x="-1207427" y="2529854"/>
                <a:ext cx="361950" cy="276225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F04C6E6-4C6D-4DD2-B635-1FB94ED2615D}"/>
                </a:ext>
              </a:extLst>
            </p:cNvPr>
            <p:cNvSpPr/>
            <p:nvPr userDrawn="1"/>
          </p:nvSpPr>
          <p:spPr>
            <a:xfrm>
              <a:off x="-3213913" y="4327923"/>
              <a:ext cx="2685425" cy="2371641"/>
            </a:xfrm>
            <a:custGeom>
              <a:avLst/>
              <a:gdLst>
                <a:gd name="connsiteX0" fmla="*/ 1769003 w 2685425"/>
                <a:gd name="connsiteY0" fmla="*/ 1701685 h 2371641"/>
                <a:gd name="connsiteX1" fmla="*/ 1769003 w 2685425"/>
                <a:gd name="connsiteY1" fmla="*/ 1900861 h 2371641"/>
                <a:gd name="connsiteX2" fmla="*/ 2571117 w 2685425"/>
                <a:gd name="connsiteY2" fmla="*/ 1900861 h 2371641"/>
                <a:gd name="connsiteX3" fmla="*/ 2571117 w 2685425"/>
                <a:gd name="connsiteY3" fmla="*/ 1701685 h 2371641"/>
                <a:gd name="connsiteX4" fmla="*/ 0 w 2685425"/>
                <a:gd name="connsiteY4" fmla="*/ 0 h 2371641"/>
                <a:gd name="connsiteX5" fmla="*/ 2685425 w 2685425"/>
                <a:gd name="connsiteY5" fmla="*/ 0 h 2371641"/>
                <a:gd name="connsiteX6" fmla="*/ 2685425 w 2685425"/>
                <a:gd name="connsiteY6" fmla="*/ 2371641 h 2371641"/>
                <a:gd name="connsiteX7" fmla="*/ 0 w 2685425"/>
                <a:gd name="connsiteY7" fmla="*/ 2371641 h 237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85425" h="2371641">
                  <a:moveTo>
                    <a:pt x="1769003" y="1701685"/>
                  </a:moveTo>
                  <a:lnTo>
                    <a:pt x="1769003" y="1900861"/>
                  </a:lnTo>
                  <a:lnTo>
                    <a:pt x="2571117" y="1900861"/>
                  </a:lnTo>
                  <a:lnTo>
                    <a:pt x="2571117" y="1701685"/>
                  </a:lnTo>
                  <a:close/>
                  <a:moveTo>
                    <a:pt x="0" y="0"/>
                  </a:moveTo>
                  <a:lnTo>
                    <a:pt x="2685425" y="0"/>
                  </a:lnTo>
                  <a:lnTo>
                    <a:pt x="2685425" y="2371641"/>
                  </a:lnTo>
                  <a:lnTo>
                    <a:pt x="0" y="2371641"/>
                  </a:lnTo>
                  <a:close/>
                </a:path>
              </a:pathLst>
            </a:custGeom>
            <a:solidFill>
              <a:schemeClr val="accent1">
                <a:alpha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</p:grpSp>
      <p:pic>
        <p:nvPicPr>
          <p:cNvPr id="12" name="Graphic 11">
            <a:extLst>
              <a:ext uri="{FF2B5EF4-FFF2-40B4-BE49-F238E27FC236}">
                <a16:creationId xmlns:a16="http://schemas.microsoft.com/office/drawing/2014/main" id="{72C84B72-8A97-43AA-A46A-ADCECC9DFE7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67459" y="682683"/>
            <a:ext cx="2056571" cy="909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92634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 -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94541F-0D3D-46CE-B305-48453F40907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0269" y="2519541"/>
            <a:ext cx="935861" cy="738664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>
              <a:defRPr sz="4800">
                <a:solidFill>
                  <a:schemeClr val="accent4"/>
                </a:solidFill>
                <a:latin typeface="+mj-lt"/>
              </a:defRPr>
            </a:lvl1pPr>
            <a:lvl2pPr>
              <a:defRPr sz="4800">
                <a:latin typeface="+mj-lt"/>
              </a:defRPr>
            </a:lvl2pPr>
            <a:lvl3pPr>
              <a:defRPr sz="4800">
                <a:latin typeface="+mj-lt"/>
              </a:defRPr>
            </a:lvl3pPr>
            <a:lvl4pPr>
              <a:defRPr sz="4800">
                <a:latin typeface="+mj-lt"/>
              </a:defRPr>
            </a:lvl4pPr>
            <a:lvl5pPr>
              <a:defRPr sz="4800">
                <a:latin typeface="+mj-lt"/>
              </a:defRPr>
            </a:lvl5pPr>
          </a:lstStyle>
          <a:p>
            <a:pPr lvl="0"/>
            <a:r>
              <a:rPr lang="en-US"/>
              <a:t>00</a:t>
            </a:r>
            <a:endParaRPr lang="en-AU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2ECAD92-B00F-42A2-AE7D-22A0F33543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02019" y="3644572"/>
            <a:ext cx="9121562" cy="916085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4"/>
              </a:buClr>
              <a:buFont typeface="+mj-lt"/>
              <a:buNone/>
              <a:defRPr lang="en-US" sz="3600" kern="1200" cap="none" smtClean="0">
                <a:solidFill>
                  <a:prstClr val="white"/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70000"/>
              </a:lnSpc>
              <a:spcBef>
                <a:spcPts val="1200"/>
              </a:spcBef>
              <a:buClr>
                <a:schemeClr val="accent4"/>
              </a:buClr>
              <a:buNone/>
              <a:defRPr lang="en-US" sz="2400" kern="1200" cap="none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2pPr>
            <a:lvl3pPr marL="712788" algn="l" defTabSz="914400" rtl="0" eaLnBrk="1" latinLnBrk="0" hangingPunct="1">
              <a:lnSpc>
                <a:spcPct val="70000"/>
              </a:lnSpc>
              <a:spcBef>
                <a:spcPts val="1200"/>
              </a:spcBef>
              <a:buClr>
                <a:schemeClr val="accent4"/>
              </a:buClr>
              <a:defRPr lang="en-US" sz="2400" kern="1200" dirty="0" smtClean="0">
                <a:solidFill>
                  <a:srgbClr val="71984A"/>
                </a:solidFill>
                <a:latin typeface="+mn-lt"/>
                <a:ea typeface="+mj-ea"/>
                <a:cs typeface="+mj-cs"/>
              </a:defRPr>
            </a:lvl3pPr>
            <a:lvl4pPr marL="712788" algn="l" defTabSz="914400" rtl="0" eaLnBrk="1" latinLnBrk="0" hangingPunct="1">
              <a:lnSpc>
                <a:spcPct val="70000"/>
              </a:lnSpc>
              <a:spcBef>
                <a:spcPts val="1200"/>
              </a:spcBef>
              <a:buClr>
                <a:schemeClr val="accent4"/>
              </a:buClr>
              <a:defRPr lang="en-US" sz="2400" kern="1200" dirty="0" smtClean="0">
                <a:solidFill>
                  <a:srgbClr val="71984A"/>
                </a:solidFill>
                <a:latin typeface="+mn-lt"/>
                <a:ea typeface="+mj-ea"/>
                <a:cs typeface="+mj-cs"/>
              </a:defRPr>
            </a:lvl4pPr>
            <a:lvl5pPr marL="712788" algn="l" defTabSz="914400" rtl="0" eaLnBrk="1" latinLnBrk="0" hangingPunct="1">
              <a:lnSpc>
                <a:spcPct val="70000"/>
              </a:lnSpc>
              <a:spcBef>
                <a:spcPts val="1200"/>
              </a:spcBef>
              <a:buClr>
                <a:schemeClr val="accent4"/>
              </a:buClr>
              <a:defRPr lang="en-AU" sz="2400" kern="1200" dirty="0">
                <a:solidFill>
                  <a:srgbClr val="71984A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C49927C-9618-407D-8724-8E23F3C8FE0B}"/>
              </a:ext>
            </a:extLst>
          </p:cNvPr>
          <p:cNvCxnSpPr>
            <a:cxnSpLocks/>
          </p:cNvCxnSpPr>
          <p:nvPr userDrawn="1"/>
        </p:nvCxnSpPr>
        <p:spPr>
          <a:xfrm>
            <a:off x="1412661" y="3327906"/>
            <a:ext cx="718226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phic 6">
            <a:extLst>
              <a:ext uri="{FF2B5EF4-FFF2-40B4-BE49-F238E27FC236}">
                <a16:creationId xmlns:a16="http://schemas.microsoft.com/office/drawing/2014/main" id="{C77C6F4D-6FC8-465E-A01E-B738D16B7D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7459" y="682683"/>
            <a:ext cx="2056571" cy="909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120865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break - Aqu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94541F-0D3D-46CE-B305-48453F40907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0269" y="2519541"/>
            <a:ext cx="935861" cy="664797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>
              <a:defRPr sz="4800">
                <a:solidFill>
                  <a:schemeClr val="accent1"/>
                </a:solidFill>
                <a:latin typeface="+mj-lt"/>
              </a:defRPr>
            </a:lvl1pPr>
            <a:lvl2pPr>
              <a:defRPr sz="4800">
                <a:latin typeface="+mj-lt"/>
              </a:defRPr>
            </a:lvl2pPr>
            <a:lvl3pPr>
              <a:defRPr sz="4800">
                <a:latin typeface="+mj-lt"/>
              </a:defRPr>
            </a:lvl3pPr>
            <a:lvl4pPr>
              <a:defRPr sz="4800">
                <a:latin typeface="+mj-lt"/>
              </a:defRPr>
            </a:lvl4pPr>
            <a:lvl5pPr>
              <a:defRPr sz="4800">
                <a:latin typeface="+mj-lt"/>
              </a:defRPr>
            </a:lvl5pPr>
          </a:lstStyle>
          <a:p>
            <a:pPr lvl="0"/>
            <a:r>
              <a:rPr lang="en-US"/>
              <a:t>00</a:t>
            </a:r>
            <a:endParaRPr lang="en-AU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2ECAD92-B00F-42A2-AE7D-22A0F33543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02019" y="3644572"/>
            <a:ext cx="9121562" cy="916085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4"/>
              </a:buClr>
              <a:buFont typeface="+mj-lt"/>
              <a:buNone/>
              <a:defRPr lang="en-US" sz="3600" kern="1200" cap="none" smtClean="0">
                <a:solidFill>
                  <a:prstClr val="white"/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70000"/>
              </a:lnSpc>
              <a:spcBef>
                <a:spcPts val="1200"/>
              </a:spcBef>
              <a:buClr>
                <a:schemeClr val="accent4"/>
              </a:buClr>
              <a:buNone/>
              <a:defRPr lang="en-US" sz="2400" kern="1200" cap="none" dirty="0" smtClean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2pPr>
            <a:lvl3pPr marL="712788" algn="l" defTabSz="914400" rtl="0" eaLnBrk="1" latinLnBrk="0" hangingPunct="1">
              <a:lnSpc>
                <a:spcPct val="70000"/>
              </a:lnSpc>
              <a:spcBef>
                <a:spcPts val="1200"/>
              </a:spcBef>
              <a:buClr>
                <a:schemeClr val="accent4"/>
              </a:buClr>
              <a:defRPr lang="en-US" sz="2400" kern="1200" dirty="0" smtClean="0">
                <a:solidFill>
                  <a:srgbClr val="71984A"/>
                </a:solidFill>
                <a:latin typeface="+mn-lt"/>
                <a:ea typeface="+mj-ea"/>
                <a:cs typeface="+mj-cs"/>
              </a:defRPr>
            </a:lvl3pPr>
            <a:lvl4pPr marL="712788" algn="l" defTabSz="914400" rtl="0" eaLnBrk="1" latinLnBrk="0" hangingPunct="1">
              <a:lnSpc>
                <a:spcPct val="70000"/>
              </a:lnSpc>
              <a:spcBef>
                <a:spcPts val="1200"/>
              </a:spcBef>
              <a:buClr>
                <a:schemeClr val="accent4"/>
              </a:buClr>
              <a:defRPr lang="en-US" sz="2400" kern="1200" dirty="0" smtClean="0">
                <a:solidFill>
                  <a:srgbClr val="71984A"/>
                </a:solidFill>
                <a:latin typeface="+mn-lt"/>
                <a:ea typeface="+mj-ea"/>
                <a:cs typeface="+mj-cs"/>
              </a:defRPr>
            </a:lvl4pPr>
            <a:lvl5pPr marL="712788" algn="l" defTabSz="914400" rtl="0" eaLnBrk="1" latinLnBrk="0" hangingPunct="1">
              <a:lnSpc>
                <a:spcPct val="70000"/>
              </a:lnSpc>
              <a:spcBef>
                <a:spcPts val="1200"/>
              </a:spcBef>
              <a:buClr>
                <a:schemeClr val="accent4"/>
              </a:buClr>
              <a:defRPr lang="en-AU" sz="2400" kern="1200" dirty="0">
                <a:solidFill>
                  <a:srgbClr val="71984A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C49927C-9618-407D-8724-8E23F3C8FE0B}"/>
              </a:ext>
            </a:extLst>
          </p:cNvPr>
          <p:cNvCxnSpPr>
            <a:cxnSpLocks/>
          </p:cNvCxnSpPr>
          <p:nvPr userDrawn="1"/>
        </p:nvCxnSpPr>
        <p:spPr>
          <a:xfrm>
            <a:off x="1412661" y="3327906"/>
            <a:ext cx="718226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phic 6">
            <a:extLst>
              <a:ext uri="{FF2B5EF4-FFF2-40B4-BE49-F238E27FC236}">
                <a16:creationId xmlns:a16="http://schemas.microsoft.com/office/drawing/2014/main" id="{C1CB6703-8A32-4F9E-AC3F-1A870C2404F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7459" y="682683"/>
            <a:ext cx="2056571" cy="909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40274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 - Gree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94541F-0D3D-46CE-B305-48453F40907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30269" y="2519541"/>
            <a:ext cx="935861" cy="664797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>
              <a:defRPr sz="4800">
                <a:solidFill>
                  <a:schemeClr val="accent1"/>
                </a:solidFill>
                <a:latin typeface="+mj-lt"/>
              </a:defRPr>
            </a:lvl1pPr>
            <a:lvl2pPr>
              <a:defRPr sz="4800">
                <a:latin typeface="+mj-lt"/>
              </a:defRPr>
            </a:lvl2pPr>
            <a:lvl3pPr>
              <a:defRPr sz="4800">
                <a:latin typeface="+mj-lt"/>
              </a:defRPr>
            </a:lvl3pPr>
            <a:lvl4pPr>
              <a:defRPr sz="4800">
                <a:latin typeface="+mj-lt"/>
              </a:defRPr>
            </a:lvl4pPr>
            <a:lvl5pPr>
              <a:defRPr sz="4800">
                <a:latin typeface="+mj-lt"/>
              </a:defRPr>
            </a:lvl5pPr>
          </a:lstStyle>
          <a:p>
            <a:pPr lvl="0"/>
            <a:r>
              <a:rPr lang="en-US"/>
              <a:t>00</a:t>
            </a:r>
            <a:endParaRPr lang="en-AU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2ECAD92-B00F-42A2-AE7D-22A0F33543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402019" y="3644572"/>
            <a:ext cx="9121562" cy="916085"/>
          </a:xfrm>
          <a:prstGeom prst="rect">
            <a:avLst/>
          </a:prstGeom>
        </p:spPr>
        <p:txBody>
          <a:bodyPr wrap="square" anchor="t">
            <a:sp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4"/>
              </a:buClr>
              <a:buFont typeface="+mj-lt"/>
              <a:buNone/>
              <a:defRPr lang="en-US" sz="3600" kern="1200" cap="none" smtClean="0">
                <a:solidFill>
                  <a:prstClr val="white"/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70000"/>
              </a:lnSpc>
              <a:spcBef>
                <a:spcPts val="1200"/>
              </a:spcBef>
              <a:buClr>
                <a:schemeClr val="accent4"/>
              </a:buClr>
              <a:buNone/>
              <a:defRPr lang="en-US" sz="2400" kern="1200" cap="none" dirty="0" smtClean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2pPr>
            <a:lvl3pPr marL="712788" algn="l" defTabSz="914400" rtl="0" eaLnBrk="1" latinLnBrk="0" hangingPunct="1">
              <a:lnSpc>
                <a:spcPct val="70000"/>
              </a:lnSpc>
              <a:spcBef>
                <a:spcPts val="1200"/>
              </a:spcBef>
              <a:buClr>
                <a:schemeClr val="accent4"/>
              </a:buClr>
              <a:defRPr lang="en-US" sz="2400" kern="1200" dirty="0" smtClean="0">
                <a:solidFill>
                  <a:srgbClr val="71984A"/>
                </a:solidFill>
                <a:latin typeface="+mn-lt"/>
                <a:ea typeface="+mj-ea"/>
                <a:cs typeface="+mj-cs"/>
              </a:defRPr>
            </a:lvl3pPr>
            <a:lvl4pPr marL="712788" algn="l" defTabSz="914400" rtl="0" eaLnBrk="1" latinLnBrk="0" hangingPunct="1">
              <a:lnSpc>
                <a:spcPct val="70000"/>
              </a:lnSpc>
              <a:spcBef>
                <a:spcPts val="1200"/>
              </a:spcBef>
              <a:buClr>
                <a:schemeClr val="accent4"/>
              </a:buClr>
              <a:defRPr lang="en-US" sz="2400" kern="1200" dirty="0" smtClean="0">
                <a:solidFill>
                  <a:srgbClr val="71984A"/>
                </a:solidFill>
                <a:latin typeface="+mn-lt"/>
                <a:ea typeface="+mj-ea"/>
                <a:cs typeface="+mj-cs"/>
              </a:defRPr>
            </a:lvl4pPr>
            <a:lvl5pPr marL="712788" algn="l" defTabSz="914400" rtl="0" eaLnBrk="1" latinLnBrk="0" hangingPunct="1">
              <a:lnSpc>
                <a:spcPct val="70000"/>
              </a:lnSpc>
              <a:spcBef>
                <a:spcPts val="1200"/>
              </a:spcBef>
              <a:buClr>
                <a:schemeClr val="accent4"/>
              </a:buClr>
              <a:defRPr lang="en-AU" sz="2400" kern="1200" dirty="0">
                <a:solidFill>
                  <a:srgbClr val="71984A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C49927C-9618-407D-8724-8E23F3C8FE0B}"/>
              </a:ext>
            </a:extLst>
          </p:cNvPr>
          <p:cNvCxnSpPr>
            <a:cxnSpLocks/>
          </p:cNvCxnSpPr>
          <p:nvPr userDrawn="1"/>
        </p:nvCxnSpPr>
        <p:spPr>
          <a:xfrm>
            <a:off x="1412661" y="3327906"/>
            <a:ext cx="718226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phic 6">
            <a:extLst>
              <a:ext uri="{FF2B5EF4-FFF2-40B4-BE49-F238E27FC236}">
                <a16:creationId xmlns:a16="http://schemas.microsoft.com/office/drawing/2014/main" id="{86554F89-BDA3-4D35-95FB-24213D6C36F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7459" y="682683"/>
            <a:ext cx="2056571" cy="909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68154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-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01C412C-ADDF-48A6-B377-EC10846B059F}"/>
              </a:ext>
            </a:extLst>
          </p:cNvPr>
          <p:cNvSpPr>
            <a:spLocks/>
          </p:cNvSpPr>
          <p:nvPr userDrawn="1"/>
        </p:nvSpPr>
        <p:spPr>
          <a:xfrm>
            <a:off x="959363" y="4818031"/>
            <a:ext cx="249408" cy="249408"/>
          </a:xfrm>
          <a:custGeom>
            <a:avLst/>
            <a:gdLst>
              <a:gd name="connsiteX0" fmla="*/ 179730 w 199218"/>
              <a:gd name="connsiteY0" fmla="*/ 6496 h 199218"/>
              <a:gd name="connsiteX1" fmla="*/ 27284 w 199218"/>
              <a:gd name="connsiteY1" fmla="*/ 6496 h 199218"/>
              <a:gd name="connsiteX2" fmla="*/ 6496 w 199218"/>
              <a:gd name="connsiteY2" fmla="*/ 27284 h 199218"/>
              <a:gd name="connsiteX3" fmla="*/ 6496 w 199218"/>
              <a:gd name="connsiteY3" fmla="*/ 179730 h 199218"/>
              <a:gd name="connsiteX4" fmla="*/ 27284 w 199218"/>
              <a:gd name="connsiteY4" fmla="*/ 200518 h 199218"/>
              <a:gd name="connsiteX5" fmla="*/ 179730 w 199218"/>
              <a:gd name="connsiteY5" fmla="*/ 200518 h 199218"/>
              <a:gd name="connsiteX6" fmla="*/ 200518 w 199218"/>
              <a:gd name="connsiteY6" fmla="*/ 179730 h 199218"/>
              <a:gd name="connsiteX7" fmla="*/ 200518 w 199218"/>
              <a:gd name="connsiteY7" fmla="*/ 27284 h 199218"/>
              <a:gd name="connsiteX8" fmla="*/ 179730 w 199218"/>
              <a:gd name="connsiteY8" fmla="*/ 6496 h 199218"/>
              <a:gd name="connsiteX9" fmla="*/ 47206 w 199218"/>
              <a:gd name="connsiteY9" fmla="*/ 172801 h 199218"/>
              <a:gd name="connsiteX10" fmla="*/ 41143 w 199218"/>
              <a:gd name="connsiteY10" fmla="*/ 167604 h 199218"/>
              <a:gd name="connsiteX11" fmla="*/ 35080 w 199218"/>
              <a:gd name="connsiteY11" fmla="*/ 139020 h 199218"/>
              <a:gd name="connsiteX12" fmla="*/ 38545 w 199218"/>
              <a:gd name="connsiteY12" fmla="*/ 131225 h 199218"/>
              <a:gd name="connsiteX13" fmla="*/ 68860 w 199218"/>
              <a:gd name="connsiteY13" fmla="*/ 118232 h 199218"/>
              <a:gd name="connsiteX14" fmla="*/ 76656 w 199218"/>
              <a:gd name="connsiteY14" fmla="*/ 119964 h 199218"/>
              <a:gd name="connsiteX15" fmla="*/ 89649 w 199218"/>
              <a:gd name="connsiteY15" fmla="*/ 136422 h 199218"/>
              <a:gd name="connsiteX16" fmla="*/ 137288 w 199218"/>
              <a:gd name="connsiteY16" fmla="*/ 88782 h 199218"/>
              <a:gd name="connsiteX17" fmla="*/ 120831 w 199218"/>
              <a:gd name="connsiteY17" fmla="*/ 75790 h 199218"/>
              <a:gd name="connsiteX18" fmla="*/ 119098 w 199218"/>
              <a:gd name="connsiteY18" fmla="*/ 67994 h 199218"/>
              <a:gd name="connsiteX19" fmla="*/ 132091 w 199218"/>
              <a:gd name="connsiteY19" fmla="*/ 37678 h 199218"/>
              <a:gd name="connsiteX20" fmla="*/ 139886 w 199218"/>
              <a:gd name="connsiteY20" fmla="*/ 34214 h 199218"/>
              <a:gd name="connsiteX21" fmla="*/ 168470 w 199218"/>
              <a:gd name="connsiteY21" fmla="*/ 40277 h 199218"/>
              <a:gd name="connsiteX22" fmla="*/ 173667 w 199218"/>
              <a:gd name="connsiteY22" fmla="*/ 46340 h 199218"/>
              <a:gd name="connsiteX23" fmla="*/ 47206 w 199218"/>
              <a:gd name="connsiteY23" fmla="*/ 172801 h 199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99218" h="199218">
                <a:moveTo>
                  <a:pt x="179730" y="6496"/>
                </a:moveTo>
                <a:lnTo>
                  <a:pt x="27284" y="6496"/>
                </a:lnTo>
                <a:cubicBezTo>
                  <a:pt x="16024" y="6496"/>
                  <a:pt x="6496" y="16024"/>
                  <a:pt x="6496" y="27284"/>
                </a:cubicBezTo>
                <a:lnTo>
                  <a:pt x="6496" y="179730"/>
                </a:lnTo>
                <a:cubicBezTo>
                  <a:pt x="6496" y="190990"/>
                  <a:pt x="16024" y="200518"/>
                  <a:pt x="27284" y="200518"/>
                </a:cubicBezTo>
                <a:lnTo>
                  <a:pt x="179730" y="200518"/>
                </a:lnTo>
                <a:cubicBezTo>
                  <a:pt x="190990" y="200518"/>
                  <a:pt x="200518" y="190990"/>
                  <a:pt x="200518" y="179730"/>
                </a:cubicBezTo>
                <a:lnTo>
                  <a:pt x="200518" y="27284"/>
                </a:lnTo>
                <a:cubicBezTo>
                  <a:pt x="200518" y="16024"/>
                  <a:pt x="190990" y="6496"/>
                  <a:pt x="179730" y="6496"/>
                </a:cubicBezTo>
                <a:close/>
                <a:moveTo>
                  <a:pt x="47206" y="172801"/>
                </a:moveTo>
                <a:cubicBezTo>
                  <a:pt x="43742" y="172801"/>
                  <a:pt x="41143" y="171068"/>
                  <a:pt x="41143" y="167604"/>
                </a:cubicBezTo>
                <a:lnTo>
                  <a:pt x="35080" y="139020"/>
                </a:lnTo>
                <a:cubicBezTo>
                  <a:pt x="34214" y="135555"/>
                  <a:pt x="35946" y="132957"/>
                  <a:pt x="38545" y="131225"/>
                </a:cubicBezTo>
                <a:lnTo>
                  <a:pt x="68860" y="118232"/>
                </a:lnTo>
                <a:cubicBezTo>
                  <a:pt x="71459" y="117366"/>
                  <a:pt x="74924" y="118232"/>
                  <a:pt x="76656" y="119964"/>
                </a:cubicBezTo>
                <a:lnTo>
                  <a:pt x="89649" y="136422"/>
                </a:lnTo>
                <a:cubicBezTo>
                  <a:pt x="110437" y="126894"/>
                  <a:pt x="127760" y="109570"/>
                  <a:pt x="137288" y="88782"/>
                </a:cubicBezTo>
                <a:lnTo>
                  <a:pt x="120831" y="75790"/>
                </a:lnTo>
                <a:cubicBezTo>
                  <a:pt x="118232" y="74057"/>
                  <a:pt x="118232" y="70593"/>
                  <a:pt x="119098" y="67994"/>
                </a:cubicBezTo>
                <a:lnTo>
                  <a:pt x="132091" y="37678"/>
                </a:lnTo>
                <a:cubicBezTo>
                  <a:pt x="132957" y="35080"/>
                  <a:pt x="136422" y="33348"/>
                  <a:pt x="139886" y="34214"/>
                </a:cubicBezTo>
                <a:lnTo>
                  <a:pt x="168470" y="40277"/>
                </a:lnTo>
                <a:cubicBezTo>
                  <a:pt x="171068" y="41143"/>
                  <a:pt x="173667" y="43741"/>
                  <a:pt x="173667" y="46340"/>
                </a:cubicBezTo>
                <a:cubicBezTo>
                  <a:pt x="172801" y="116500"/>
                  <a:pt x="116500" y="172801"/>
                  <a:pt x="47206" y="172801"/>
                </a:cubicBez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1984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9260E8DF-A773-47F3-B284-B5EB409534FC}"/>
              </a:ext>
            </a:extLst>
          </p:cNvPr>
          <p:cNvSpPr>
            <a:spLocks/>
          </p:cNvSpPr>
          <p:nvPr userDrawn="1"/>
        </p:nvSpPr>
        <p:spPr>
          <a:xfrm>
            <a:off x="948509" y="5277436"/>
            <a:ext cx="265660" cy="208053"/>
          </a:xfrm>
          <a:custGeom>
            <a:avLst/>
            <a:gdLst>
              <a:gd name="connsiteX0" fmla="*/ 224933 w 234940"/>
              <a:gd name="connsiteY0" fmla="*/ 61345 h 174029"/>
              <a:gd name="connsiteX1" fmla="*/ 229284 w 234940"/>
              <a:gd name="connsiteY1" fmla="*/ 63086 h 174029"/>
              <a:gd name="connsiteX2" fmla="*/ 229284 w 234940"/>
              <a:gd name="connsiteY2" fmla="*/ 151841 h 174029"/>
              <a:gd name="connsiteX3" fmla="*/ 208401 w 234940"/>
              <a:gd name="connsiteY3" fmla="*/ 172725 h 174029"/>
              <a:gd name="connsiteX4" fmla="*/ 27410 w 234940"/>
              <a:gd name="connsiteY4" fmla="*/ 172725 h 174029"/>
              <a:gd name="connsiteX5" fmla="*/ 6526 w 234940"/>
              <a:gd name="connsiteY5" fmla="*/ 151841 h 174029"/>
              <a:gd name="connsiteX6" fmla="*/ 6526 w 234940"/>
              <a:gd name="connsiteY6" fmla="*/ 63086 h 174029"/>
              <a:gd name="connsiteX7" fmla="*/ 10877 w 234940"/>
              <a:gd name="connsiteY7" fmla="*/ 61345 h 174029"/>
              <a:gd name="connsiteX8" fmla="*/ 77878 w 234940"/>
              <a:gd name="connsiteY8" fmla="*/ 110944 h 174029"/>
              <a:gd name="connsiteX9" fmla="*/ 117905 w 234940"/>
              <a:gd name="connsiteY9" fmla="*/ 131827 h 174029"/>
              <a:gd name="connsiteX10" fmla="*/ 157932 w 234940"/>
              <a:gd name="connsiteY10" fmla="*/ 110944 h 174029"/>
              <a:gd name="connsiteX11" fmla="*/ 224933 w 234940"/>
              <a:gd name="connsiteY11" fmla="*/ 61345 h 174029"/>
              <a:gd name="connsiteX12" fmla="*/ 117905 w 234940"/>
              <a:gd name="connsiteY12" fmla="*/ 117905 h 174029"/>
              <a:gd name="connsiteX13" fmla="*/ 150101 w 234940"/>
              <a:gd name="connsiteY13" fmla="*/ 99632 h 174029"/>
              <a:gd name="connsiteX14" fmla="*/ 225804 w 234940"/>
              <a:gd name="connsiteY14" fmla="*/ 43943 h 174029"/>
              <a:gd name="connsiteX15" fmla="*/ 230154 w 234940"/>
              <a:gd name="connsiteY15" fmla="*/ 36111 h 174029"/>
              <a:gd name="connsiteX16" fmla="*/ 230154 w 234940"/>
              <a:gd name="connsiteY16" fmla="*/ 27410 h 174029"/>
              <a:gd name="connsiteX17" fmla="*/ 209271 w 234940"/>
              <a:gd name="connsiteY17" fmla="*/ 6526 h 174029"/>
              <a:gd name="connsiteX18" fmla="*/ 28280 w 234940"/>
              <a:gd name="connsiteY18" fmla="*/ 6526 h 174029"/>
              <a:gd name="connsiteX19" fmla="*/ 7396 w 234940"/>
              <a:gd name="connsiteY19" fmla="*/ 27410 h 174029"/>
              <a:gd name="connsiteX20" fmla="*/ 7396 w 234940"/>
              <a:gd name="connsiteY20" fmla="*/ 36111 h 174029"/>
              <a:gd name="connsiteX21" fmla="*/ 11747 w 234940"/>
              <a:gd name="connsiteY21" fmla="*/ 43943 h 174029"/>
              <a:gd name="connsiteX22" fmla="*/ 87450 w 234940"/>
              <a:gd name="connsiteY22" fmla="*/ 99632 h 174029"/>
              <a:gd name="connsiteX23" fmla="*/ 117905 w 234940"/>
              <a:gd name="connsiteY23" fmla="*/ 117905 h 174029"/>
              <a:gd name="connsiteX24" fmla="*/ 117905 w 234940"/>
              <a:gd name="connsiteY24" fmla="*/ 117905 h 174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234940" h="174029">
                <a:moveTo>
                  <a:pt x="224933" y="61345"/>
                </a:moveTo>
                <a:cubicBezTo>
                  <a:pt x="226674" y="59605"/>
                  <a:pt x="229284" y="61345"/>
                  <a:pt x="229284" y="63086"/>
                </a:cubicBezTo>
                <a:lnTo>
                  <a:pt x="229284" y="151841"/>
                </a:lnTo>
                <a:cubicBezTo>
                  <a:pt x="229284" y="163153"/>
                  <a:pt x="219712" y="172725"/>
                  <a:pt x="208401" y="172725"/>
                </a:cubicBezTo>
                <a:lnTo>
                  <a:pt x="27410" y="172725"/>
                </a:lnTo>
                <a:cubicBezTo>
                  <a:pt x="16098" y="172725"/>
                  <a:pt x="6526" y="163153"/>
                  <a:pt x="6526" y="151841"/>
                </a:cubicBezTo>
                <a:lnTo>
                  <a:pt x="6526" y="63086"/>
                </a:lnTo>
                <a:cubicBezTo>
                  <a:pt x="6526" y="60475"/>
                  <a:pt x="9136" y="59605"/>
                  <a:pt x="10877" y="61345"/>
                </a:cubicBezTo>
                <a:cubicBezTo>
                  <a:pt x="20449" y="69177"/>
                  <a:pt x="33501" y="78748"/>
                  <a:pt x="77878" y="110944"/>
                </a:cubicBezTo>
                <a:cubicBezTo>
                  <a:pt x="87450" y="117905"/>
                  <a:pt x="102242" y="131827"/>
                  <a:pt x="117905" y="131827"/>
                </a:cubicBezTo>
                <a:cubicBezTo>
                  <a:pt x="133568" y="131827"/>
                  <a:pt x="149230" y="117905"/>
                  <a:pt x="157932" y="110944"/>
                </a:cubicBezTo>
                <a:cubicBezTo>
                  <a:pt x="202310" y="78748"/>
                  <a:pt x="215362" y="69177"/>
                  <a:pt x="224933" y="61345"/>
                </a:cubicBezTo>
                <a:close/>
                <a:moveTo>
                  <a:pt x="117905" y="117905"/>
                </a:moveTo>
                <a:cubicBezTo>
                  <a:pt x="128347" y="117905"/>
                  <a:pt x="142269" y="104853"/>
                  <a:pt x="150101" y="99632"/>
                </a:cubicBezTo>
                <a:cubicBezTo>
                  <a:pt x="207530" y="57865"/>
                  <a:pt x="211881" y="54384"/>
                  <a:pt x="225804" y="43943"/>
                </a:cubicBezTo>
                <a:cubicBezTo>
                  <a:pt x="228414" y="42202"/>
                  <a:pt x="230154" y="38722"/>
                  <a:pt x="230154" y="36111"/>
                </a:cubicBezTo>
                <a:lnTo>
                  <a:pt x="230154" y="27410"/>
                </a:lnTo>
                <a:cubicBezTo>
                  <a:pt x="230154" y="16098"/>
                  <a:pt x="220583" y="6526"/>
                  <a:pt x="209271" y="6526"/>
                </a:cubicBezTo>
                <a:lnTo>
                  <a:pt x="28280" y="6526"/>
                </a:lnTo>
                <a:cubicBezTo>
                  <a:pt x="16968" y="6526"/>
                  <a:pt x="7396" y="16098"/>
                  <a:pt x="7396" y="27410"/>
                </a:cubicBezTo>
                <a:lnTo>
                  <a:pt x="7396" y="36111"/>
                </a:lnTo>
                <a:cubicBezTo>
                  <a:pt x="7396" y="39592"/>
                  <a:pt x="9136" y="42202"/>
                  <a:pt x="11747" y="43943"/>
                </a:cubicBezTo>
                <a:cubicBezTo>
                  <a:pt x="24799" y="54384"/>
                  <a:pt x="29150" y="57865"/>
                  <a:pt x="87450" y="99632"/>
                </a:cubicBezTo>
                <a:cubicBezTo>
                  <a:pt x="93541" y="104853"/>
                  <a:pt x="107463" y="117905"/>
                  <a:pt x="117905" y="117905"/>
                </a:cubicBezTo>
                <a:lnTo>
                  <a:pt x="117905" y="117905"/>
                </a:ln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1984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8CF6F67-388D-401C-A71E-276FE8A0BAB6}"/>
              </a:ext>
            </a:extLst>
          </p:cNvPr>
          <p:cNvSpPr/>
          <p:nvPr userDrawn="1"/>
        </p:nvSpPr>
        <p:spPr>
          <a:xfrm>
            <a:off x="948508" y="5695487"/>
            <a:ext cx="277971" cy="277971"/>
          </a:xfrm>
          <a:custGeom>
            <a:avLst/>
            <a:gdLst>
              <a:gd name="connsiteX0" fmla="*/ 161426 w 226257"/>
              <a:gd name="connsiteY0" fmla="*/ 86587 h 226257"/>
              <a:gd name="connsiteX1" fmla="*/ 218861 w 226257"/>
              <a:gd name="connsiteY1" fmla="*/ 86587 h 226257"/>
              <a:gd name="connsiteX2" fmla="*/ 222342 w 226257"/>
              <a:gd name="connsiteY2" fmla="*/ 114434 h 226257"/>
              <a:gd name="connsiteX3" fmla="*/ 218861 w 226257"/>
              <a:gd name="connsiteY3" fmla="*/ 142281 h 226257"/>
              <a:gd name="connsiteX4" fmla="*/ 161426 w 226257"/>
              <a:gd name="connsiteY4" fmla="*/ 142281 h 226257"/>
              <a:gd name="connsiteX5" fmla="*/ 161426 w 226257"/>
              <a:gd name="connsiteY5" fmla="*/ 86587 h 226257"/>
              <a:gd name="connsiteX6" fmla="*/ 83976 w 226257"/>
              <a:gd name="connsiteY6" fmla="*/ 156205 h 226257"/>
              <a:gd name="connsiteX7" fmla="*/ 114434 w 226257"/>
              <a:gd name="connsiteY7" fmla="*/ 222342 h 226257"/>
              <a:gd name="connsiteX8" fmla="*/ 114434 w 226257"/>
              <a:gd name="connsiteY8" fmla="*/ 222342 h 226257"/>
              <a:gd name="connsiteX9" fmla="*/ 114434 w 226257"/>
              <a:gd name="connsiteY9" fmla="*/ 222342 h 226257"/>
              <a:gd name="connsiteX10" fmla="*/ 144892 w 226257"/>
              <a:gd name="connsiteY10" fmla="*/ 156205 h 226257"/>
              <a:gd name="connsiteX11" fmla="*/ 83976 w 226257"/>
              <a:gd name="connsiteY11" fmla="*/ 156205 h 226257"/>
              <a:gd name="connsiteX12" fmla="*/ 159686 w 226257"/>
              <a:gd name="connsiteY12" fmla="*/ 72664 h 226257"/>
              <a:gd name="connsiteX13" fmla="*/ 214510 w 226257"/>
              <a:gd name="connsiteY13" fmla="*/ 72664 h 226257"/>
              <a:gd name="connsiteX14" fmla="*/ 134449 w 226257"/>
              <a:gd name="connsiteY14" fmla="*/ 8267 h 226257"/>
              <a:gd name="connsiteX15" fmla="*/ 159686 w 226257"/>
              <a:gd name="connsiteY15" fmla="*/ 72664 h 226257"/>
              <a:gd name="connsiteX16" fmla="*/ 159686 w 226257"/>
              <a:gd name="connsiteY16" fmla="*/ 72664 h 226257"/>
              <a:gd name="connsiteX17" fmla="*/ 147503 w 226257"/>
              <a:gd name="connsiteY17" fmla="*/ 86587 h 226257"/>
              <a:gd name="connsiteX18" fmla="*/ 81366 w 226257"/>
              <a:gd name="connsiteY18" fmla="*/ 86587 h 226257"/>
              <a:gd name="connsiteX19" fmla="*/ 81366 w 226257"/>
              <a:gd name="connsiteY19" fmla="*/ 142281 h 226257"/>
              <a:gd name="connsiteX20" fmla="*/ 147503 w 226257"/>
              <a:gd name="connsiteY20" fmla="*/ 142281 h 226257"/>
              <a:gd name="connsiteX21" fmla="*/ 147503 w 226257"/>
              <a:gd name="connsiteY21" fmla="*/ 86587 h 226257"/>
              <a:gd name="connsiteX22" fmla="*/ 69183 w 226257"/>
              <a:gd name="connsiteY22" fmla="*/ 156205 h 226257"/>
              <a:gd name="connsiteX23" fmla="*/ 15229 w 226257"/>
              <a:gd name="connsiteY23" fmla="*/ 156205 h 226257"/>
              <a:gd name="connsiteX24" fmla="*/ 95289 w 226257"/>
              <a:gd name="connsiteY24" fmla="*/ 220601 h 226257"/>
              <a:gd name="connsiteX25" fmla="*/ 69183 w 226257"/>
              <a:gd name="connsiteY25" fmla="*/ 156205 h 226257"/>
              <a:gd name="connsiteX26" fmla="*/ 69183 w 226257"/>
              <a:gd name="connsiteY26" fmla="*/ 156205 h 226257"/>
              <a:gd name="connsiteX27" fmla="*/ 159686 w 226257"/>
              <a:gd name="connsiteY27" fmla="*/ 156205 h 226257"/>
              <a:gd name="connsiteX28" fmla="*/ 134449 w 226257"/>
              <a:gd name="connsiteY28" fmla="*/ 220601 h 226257"/>
              <a:gd name="connsiteX29" fmla="*/ 214510 w 226257"/>
              <a:gd name="connsiteY29" fmla="*/ 156205 h 226257"/>
              <a:gd name="connsiteX30" fmla="*/ 159686 w 226257"/>
              <a:gd name="connsiteY30" fmla="*/ 156205 h 226257"/>
              <a:gd name="connsiteX31" fmla="*/ 144892 w 226257"/>
              <a:gd name="connsiteY31" fmla="*/ 72664 h 226257"/>
              <a:gd name="connsiteX32" fmla="*/ 114434 w 226257"/>
              <a:gd name="connsiteY32" fmla="*/ 6527 h 226257"/>
              <a:gd name="connsiteX33" fmla="*/ 114434 w 226257"/>
              <a:gd name="connsiteY33" fmla="*/ 6527 h 226257"/>
              <a:gd name="connsiteX34" fmla="*/ 114434 w 226257"/>
              <a:gd name="connsiteY34" fmla="*/ 6527 h 226257"/>
              <a:gd name="connsiteX35" fmla="*/ 83976 w 226257"/>
              <a:gd name="connsiteY35" fmla="*/ 72664 h 226257"/>
              <a:gd name="connsiteX36" fmla="*/ 144892 w 226257"/>
              <a:gd name="connsiteY36" fmla="*/ 72664 h 226257"/>
              <a:gd name="connsiteX37" fmla="*/ 10008 w 226257"/>
              <a:gd name="connsiteY37" fmla="*/ 86587 h 226257"/>
              <a:gd name="connsiteX38" fmla="*/ 6527 w 226257"/>
              <a:gd name="connsiteY38" fmla="*/ 114434 h 226257"/>
              <a:gd name="connsiteX39" fmla="*/ 10008 w 226257"/>
              <a:gd name="connsiteY39" fmla="*/ 142281 h 226257"/>
              <a:gd name="connsiteX40" fmla="*/ 67442 w 226257"/>
              <a:gd name="connsiteY40" fmla="*/ 142281 h 226257"/>
              <a:gd name="connsiteX41" fmla="*/ 67442 w 226257"/>
              <a:gd name="connsiteY41" fmla="*/ 86587 h 226257"/>
              <a:gd name="connsiteX42" fmla="*/ 10008 w 226257"/>
              <a:gd name="connsiteY42" fmla="*/ 86587 h 226257"/>
              <a:gd name="connsiteX43" fmla="*/ 69183 w 226257"/>
              <a:gd name="connsiteY43" fmla="*/ 72664 h 226257"/>
              <a:gd name="connsiteX44" fmla="*/ 94419 w 226257"/>
              <a:gd name="connsiteY44" fmla="*/ 8267 h 226257"/>
              <a:gd name="connsiteX45" fmla="*/ 14359 w 226257"/>
              <a:gd name="connsiteY45" fmla="*/ 72664 h 226257"/>
              <a:gd name="connsiteX46" fmla="*/ 69183 w 226257"/>
              <a:gd name="connsiteY46" fmla="*/ 72664 h 226257"/>
              <a:gd name="connsiteX47" fmla="*/ 69183 w 226257"/>
              <a:gd name="connsiteY47" fmla="*/ 72664 h 226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26257" h="226257">
                <a:moveTo>
                  <a:pt x="161426" y="86587"/>
                </a:moveTo>
                <a:lnTo>
                  <a:pt x="218861" y="86587"/>
                </a:lnTo>
                <a:cubicBezTo>
                  <a:pt x="221472" y="95289"/>
                  <a:pt x="222342" y="104862"/>
                  <a:pt x="222342" y="114434"/>
                </a:cubicBezTo>
                <a:cubicBezTo>
                  <a:pt x="222342" y="124007"/>
                  <a:pt x="221472" y="133579"/>
                  <a:pt x="218861" y="142281"/>
                </a:cubicBezTo>
                <a:lnTo>
                  <a:pt x="161426" y="142281"/>
                </a:lnTo>
                <a:cubicBezTo>
                  <a:pt x="164037" y="123136"/>
                  <a:pt x="164037" y="104862"/>
                  <a:pt x="161426" y="86587"/>
                </a:cubicBezTo>
                <a:close/>
                <a:moveTo>
                  <a:pt x="83976" y="156205"/>
                </a:moveTo>
                <a:cubicBezTo>
                  <a:pt x="88328" y="179701"/>
                  <a:pt x="98770" y="204937"/>
                  <a:pt x="114434" y="222342"/>
                </a:cubicBezTo>
                <a:cubicBezTo>
                  <a:pt x="114434" y="222342"/>
                  <a:pt x="114434" y="222342"/>
                  <a:pt x="114434" y="222342"/>
                </a:cubicBezTo>
                <a:cubicBezTo>
                  <a:pt x="114434" y="222342"/>
                  <a:pt x="114434" y="222342"/>
                  <a:pt x="114434" y="222342"/>
                </a:cubicBezTo>
                <a:cubicBezTo>
                  <a:pt x="130969" y="204937"/>
                  <a:pt x="140541" y="179701"/>
                  <a:pt x="144892" y="156205"/>
                </a:cubicBezTo>
                <a:lnTo>
                  <a:pt x="83976" y="156205"/>
                </a:lnTo>
                <a:close/>
                <a:moveTo>
                  <a:pt x="159686" y="72664"/>
                </a:moveTo>
                <a:lnTo>
                  <a:pt x="214510" y="72664"/>
                </a:lnTo>
                <a:cubicBezTo>
                  <a:pt x="200586" y="39595"/>
                  <a:pt x="170999" y="15229"/>
                  <a:pt x="134449" y="8267"/>
                </a:cubicBezTo>
                <a:cubicBezTo>
                  <a:pt x="147503" y="27412"/>
                  <a:pt x="155335" y="50038"/>
                  <a:pt x="159686" y="72664"/>
                </a:cubicBezTo>
                <a:lnTo>
                  <a:pt x="159686" y="72664"/>
                </a:lnTo>
                <a:close/>
                <a:moveTo>
                  <a:pt x="147503" y="86587"/>
                </a:moveTo>
                <a:lnTo>
                  <a:pt x="81366" y="86587"/>
                </a:lnTo>
                <a:cubicBezTo>
                  <a:pt x="78755" y="104862"/>
                  <a:pt x="78755" y="124007"/>
                  <a:pt x="81366" y="142281"/>
                </a:cubicBezTo>
                <a:lnTo>
                  <a:pt x="147503" y="142281"/>
                </a:lnTo>
                <a:cubicBezTo>
                  <a:pt x="150113" y="124007"/>
                  <a:pt x="150113" y="104862"/>
                  <a:pt x="147503" y="86587"/>
                </a:cubicBezTo>
                <a:close/>
                <a:moveTo>
                  <a:pt x="69183" y="156205"/>
                </a:moveTo>
                <a:lnTo>
                  <a:pt x="15229" y="156205"/>
                </a:lnTo>
                <a:cubicBezTo>
                  <a:pt x="29152" y="189273"/>
                  <a:pt x="58740" y="213640"/>
                  <a:pt x="95289" y="220601"/>
                </a:cubicBezTo>
                <a:cubicBezTo>
                  <a:pt x="81366" y="201456"/>
                  <a:pt x="73534" y="178831"/>
                  <a:pt x="69183" y="156205"/>
                </a:cubicBezTo>
                <a:lnTo>
                  <a:pt x="69183" y="156205"/>
                </a:lnTo>
                <a:close/>
                <a:moveTo>
                  <a:pt x="159686" y="156205"/>
                </a:moveTo>
                <a:cubicBezTo>
                  <a:pt x="155335" y="178831"/>
                  <a:pt x="147503" y="201456"/>
                  <a:pt x="134449" y="220601"/>
                </a:cubicBezTo>
                <a:cubicBezTo>
                  <a:pt x="170999" y="213640"/>
                  <a:pt x="200586" y="189273"/>
                  <a:pt x="214510" y="156205"/>
                </a:cubicBezTo>
                <a:lnTo>
                  <a:pt x="159686" y="156205"/>
                </a:lnTo>
                <a:close/>
                <a:moveTo>
                  <a:pt x="144892" y="72664"/>
                </a:moveTo>
                <a:cubicBezTo>
                  <a:pt x="140541" y="49168"/>
                  <a:pt x="130098" y="23931"/>
                  <a:pt x="114434" y="6527"/>
                </a:cubicBezTo>
                <a:cubicBezTo>
                  <a:pt x="114434" y="6527"/>
                  <a:pt x="114434" y="6527"/>
                  <a:pt x="114434" y="6527"/>
                </a:cubicBezTo>
                <a:cubicBezTo>
                  <a:pt x="114434" y="6527"/>
                  <a:pt x="114434" y="6527"/>
                  <a:pt x="114434" y="6527"/>
                </a:cubicBezTo>
                <a:cubicBezTo>
                  <a:pt x="97900" y="23931"/>
                  <a:pt x="88328" y="49168"/>
                  <a:pt x="83976" y="72664"/>
                </a:cubicBezTo>
                <a:lnTo>
                  <a:pt x="144892" y="72664"/>
                </a:lnTo>
                <a:close/>
                <a:moveTo>
                  <a:pt x="10008" y="86587"/>
                </a:moveTo>
                <a:cubicBezTo>
                  <a:pt x="7397" y="95289"/>
                  <a:pt x="6527" y="104862"/>
                  <a:pt x="6527" y="114434"/>
                </a:cubicBezTo>
                <a:cubicBezTo>
                  <a:pt x="6527" y="124007"/>
                  <a:pt x="7397" y="133579"/>
                  <a:pt x="10008" y="142281"/>
                </a:cubicBezTo>
                <a:lnTo>
                  <a:pt x="67442" y="142281"/>
                </a:lnTo>
                <a:cubicBezTo>
                  <a:pt x="65702" y="124007"/>
                  <a:pt x="64832" y="105732"/>
                  <a:pt x="67442" y="86587"/>
                </a:cubicBezTo>
                <a:lnTo>
                  <a:pt x="10008" y="86587"/>
                </a:lnTo>
                <a:close/>
                <a:moveTo>
                  <a:pt x="69183" y="72664"/>
                </a:moveTo>
                <a:cubicBezTo>
                  <a:pt x="73534" y="50038"/>
                  <a:pt x="81366" y="27412"/>
                  <a:pt x="94419" y="8267"/>
                </a:cubicBezTo>
                <a:cubicBezTo>
                  <a:pt x="57870" y="15229"/>
                  <a:pt x="28282" y="39595"/>
                  <a:pt x="14359" y="72664"/>
                </a:cubicBezTo>
                <a:lnTo>
                  <a:pt x="69183" y="72664"/>
                </a:lnTo>
                <a:lnTo>
                  <a:pt x="69183" y="72664"/>
                </a:lnTo>
                <a:close/>
              </a:path>
            </a:pathLst>
          </a:custGeom>
          <a:solidFill>
            <a:schemeClr val="accent4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1984"/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8957EE8E-E699-4F59-81B0-A47C904F09C6}"/>
              </a:ext>
            </a:extLst>
          </p:cNvPr>
          <p:cNvSpPr txBox="1">
            <a:spLocks/>
          </p:cNvSpPr>
          <p:nvPr userDrawn="1"/>
        </p:nvSpPr>
        <p:spPr>
          <a:xfrm>
            <a:off x="727828" y="2685010"/>
            <a:ext cx="6728049" cy="1499736"/>
          </a:xfrm>
          <a:prstGeom prst="rect">
            <a:avLst/>
          </a:prstGeom>
        </p:spPr>
        <p:txBody>
          <a:bodyPr anchor="b"/>
          <a:lstStyle>
            <a:lvl1pPr algn="ctr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600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hank you</a:t>
            </a:r>
            <a:endParaRPr kumimoji="0" lang="en-GB" sz="6000" b="0" i="0" u="none" strike="noStrike" kern="120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6AE3396-E050-4CBA-9639-D79A2F9868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27149" y="4818117"/>
            <a:ext cx="4148099" cy="24923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67AD1911-4043-40E5-B8BE-F308CCB5AF2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7149" y="5256844"/>
            <a:ext cx="4148099" cy="24923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3F02C362-5584-4F4E-B0A8-EC42A44FD5D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327149" y="5709854"/>
            <a:ext cx="4148099" cy="24923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07D958AA-74AC-457E-975A-E460EF50D56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7459" y="682683"/>
            <a:ext cx="2056571" cy="909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0492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- Aqu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01C412C-ADDF-48A6-B377-EC10846B059F}"/>
              </a:ext>
            </a:extLst>
          </p:cNvPr>
          <p:cNvSpPr>
            <a:spLocks/>
          </p:cNvSpPr>
          <p:nvPr userDrawn="1"/>
        </p:nvSpPr>
        <p:spPr>
          <a:xfrm>
            <a:off x="959363" y="4818031"/>
            <a:ext cx="249408" cy="249408"/>
          </a:xfrm>
          <a:custGeom>
            <a:avLst/>
            <a:gdLst>
              <a:gd name="connsiteX0" fmla="*/ 179730 w 199218"/>
              <a:gd name="connsiteY0" fmla="*/ 6496 h 199218"/>
              <a:gd name="connsiteX1" fmla="*/ 27284 w 199218"/>
              <a:gd name="connsiteY1" fmla="*/ 6496 h 199218"/>
              <a:gd name="connsiteX2" fmla="*/ 6496 w 199218"/>
              <a:gd name="connsiteY2" fmla="*/ 27284 h 199218"/>
              <a:gd name="connsiteX3" fmla="*/ 6496 w 199218"/>
              <a:gd name="connsiteY3" fmla="*/ 179730 h 199218"/>
              <a:gd name="connsiteX4" fmla="*/ 27284 w 199218"/>
              <a:gd name="connsiteY4" fmla="*/ 200518 h 199218"/>
              <a:gd name="connsiteX5" fmla="*/ 179730 w 199218"/>
              <a:gd name="connsiteY5" fmla="*/ 200518 h 199218"/>
              <a:gd name="connsiteX6" fmla="*/ 200518 w 199218"/>
              <a:gd name="connsiteY6" fmla="*/ 179730 h 199218"/>
              <a:gd name="connsiteX7" fmla="*/ 200518 w 199218"/>
              <a:gd name="connsiteY7" fmla="*/ 27284 h 199218"/>
              <a:gd name="connsiteX8" fmla="*/ 179730 w 199218"/>
              <a:gd name="connsiteY8" fmla="*/ 6496 h 199218"/>
              <a:gd name="connsiteX9" fmla="*/ 47206 w 199218"/>
              <a:gd name="connsiteY9" fmla="*/ 172801 h 199218"/>
              <a:gd name="connsiteX10" fmla="*/ 41143 w 199218"/>
              <a:gd name="connsiteY10" fmla="*/ 167604 h 199218"/>
              <a:gd name="connsiteX11" fmla="*/ 35080 w 199218"/>
              <a:gd name="connsiteY11" fmla="*/ 139020 h 199218"/>
              <a:gd name="connsiteX12" fmla="*/ 38545 w 199218"/>
              <a:gd name="connsiteY12" fmla="*/ 131225 h 199218"/>
              <a:gd name="connsiteX13" fmla="*/ 68860 w 199218"/>
              <a:gd name="connsiteY13" fmla="*/ 118232 h 199218"/>
              <a:gd name="connsiteX14" fmla="*/ 76656 w 199218"/>
              <a:gd name="connsiteY14" fmla="*/ 119964 h 199218"/>
              <a:gd name="connsiteX15" fmla="*/ 89649 w 199218"/>
              <a:gd name="connsiteY15" fmla="*/ 136422 h 199218"/>
              <a:gd name="connsiteX16" fmla="*/ 137288 w 199218"/>
              <a:gd name="connsiteY16" fmla="*/ 88782 h 199218"/>
              <a:gd name="connsiteX17" fmla="*/ 120831 w 199218"/>
              <a:gd name="connsiteY17" fmla="*/ 75790 h 199218"/>
              <a:gd name="connsiteX18" fmla="*/ 119098 w 199218"/>
              <a:gd name="connsiteY18" fmla="*/ 67994 h 199218"/>
              <a:gd name="connsiteX19" fmla="*/ 132091 w 199218"/>
              <a:gd name="connsiteY19" fmla="*/ 37678 h 199218"/>
              <a:gd name="connsiteX20" fmla="*/ 139886 w 199218"/>
              <a:gd name="connsiteY20" fmla="*/ 34214 h 199218"/>
              <a:gd name="connsiteX21" fmla="*/ 168470 w 199218"/>
              <a:gd name="connsiteY21" fmla="*/ 40277 h 199218"/>
              <a:gd name="connsiteX22" fmla="*/ 173667 w 199218"/>
              <a:gd name="connsiteY22" fmla="*/ 46340 h 199218"/>
              <a:gd name="connsiteX23" fmla="*/ 47206 w 199218"/>
              <a:gd name="connsiteY23" fmla="*/ 172801 h 199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99218" h="199218">
                <a:moveTo>
                  <a:pt x="179730" y="6496"/>
                </a:moveTo>
                <a:lnTo>
                  <a:pt x="27284" y="6496"/>
                </a:lnTo>
                <a:cubicBezTo>
                  <a:pt x="16024" y="6496"/>
                  <a:pt x="6496" y="16024"/>
                  <a:pt x="6496" y="27284"/>
                </a:cubicBezTo>
                <a:lnTo>
                  <a:pt x="6496" y="179730"/>
                </a:lnTo>
                <a:cubicBezTo>
                  <a:pt x="6496" y="190990"/>
                  <a:pt x="16024" y="200518"/>
                  <a:pt x="27284" y="200518"/>
                </a:cubicBezTo>
                <a:lnTo>
                  <a:pt x="179730" y="200518"/>
                </a:lnTo>
                <a:cubicBezTo>
                  <a:pt x="190990" y="200518"/>
                  <a:pt x="200518" y="190990"/>
                  <a:pt x="200518" y="179730"/>
                </a:cubicBezTo>
                <a:lnTo>
                  <a:pt x="200518" y="27284"/>
                </a:lnTo>
                <a:cubicBezTo>
                  <a:pt x="200518" y="16024"/>
                  <a:pt x="190990" y="6496"/>
                  <a:pt x="179730" y="6496"/>
                </a:cubicBezTo>
                <a:close/>
                <a:moveTo>
                  <a:pt x="47206" y="172801"/>
                </a:moveTo>
                <a:cubicBezTo>
                  <a:pt x="43742" y="172801"/>
                  <a:pt x="41143" y="171068"/>
                  <a:pt x="41143" y="167604"/>
                </a:cubicBezTo>
                <a:lnTo>
                  <a:pt x="35080" y="139020"/>
                </a:lnTo>
                <a:cubicBezTo>
                  <a:pt x="34214" y="135555"/>
                  <a:pt x="35946" y="132957"/>
                  <a:pt x="38545" y="131225"/>
                </a:cubicBezTo>
                <a:lnTo>
                  <a:pt x="68860" y="118232"/>
                </a:lnTo>
                <a:cubicBezTo>
                  <a:pt x="71459" y="117366"/>
                  <a:pt x="74924" y="118232"/>
                  <a:pt x="76656" y="119964"/>
                </a:cubicBezTo>
                <a:lnTo>
                  <a:pt x="89649" y="136422"/>
                </a:lnTo>
                <a:cubicBezTo>
                  <a:pt x="110437" y="126894"/>
                  <a:pt x="127760" y="109570"/>
                  <a:pt x="137288" y="88782"/>
                </a:cubicBezTo>
                <a:lnTo>
                  <a:pt x="120831" y="75790"/>
                </a:lnTo>
                <a:cubicBezTo>
                  <a:pt x="118232" y="74057"/>
                  <a:pt x="118232" y="70593"/>
                  <a:pt x="119098" y="67994"/>
                </a:cubicBezTo>
                <a:lnTo>
                  <a:pt x="132091" y="37678"/>
                </a:lnTo>
                <a:cubicBezTo>
                  <a:pt x="132957" y="35080"/>
                  <a:pt x="136422" y="33348"/>
                  <a:pt x="139886" y="34214"/>
                </a:cubicBezTo>
                <a:lnTo>
                  <a:pt x="168470" y="40277"/>
                </a:lnTo>
                <a:cubicBezTo>
                  <a:pt x="171068" y="41143"/>
                  <a:pt x="173667" y="43741"/>
                  <a:pt x="173667" y="46340"/>
                </a:cubicBezTo>
                <a:cubicBezTo>
                  <a:pt x="172801" y="116500"/>
                  <a:pt x="116500" y="172801"/>
                  <a:pt x="47206" y="172801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1984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9260E8DF-A773-47F3-B284-B5EB409534FC}"/>
              </a:ext>
            </a:extLst>
          </p:cNvPr>
          <p:cNvSpPr>
            <a:spLocks/>
          </p:cNvSpPr>
          <p:nvPr userDrawn="1"/>
        </p:nvSpPr>
        <p:spPr>
          <a:xfrm>
            <a:off x="948509" y="5277436"/>
            <a:ext cx="265660" cy="208053"/>
          </a:xfrm>
          <a:custGeom>
            <a:avLst/>
            <a:gdLst>
              <a:gd name="connsiteX0" fmla="*/ 224933 w 234940"/>
              <a:gd name="connsiteY0" fmla="*/ 61345 h 174029"/>
              <a:gd name="connsiteX1" fmla="*/ 229284 w 234940"/>
              <a:gd name="connsiteY1" fmla="*/ 63086 h 174029"/>
              <a:gd name="connsiteX2" fmla="*/ 229284 w 234940"/>
              <a:gd name="connsiteY2" fmla="*/ 151841 h 174029"/>
              <a:gd name="connsiteX3" fmla="*/ 208401 w 234940"/>
              <a:gd name="connsiteY3" fmla="*/ 172725 h 174029"/>
              <a:gd name="connsiteX4" fmla="*/ 27410 w 234940"/>
              <a:gd name="connsiteY4" fmla="*/ 172725 h 174029"/>
              <a:gd name="connsiteX5" fmla="*/ 6526 w 234940"/>
              <a:gd name="connsiteY5" fmla="*/ 151841 h 174029"/>
              <a:gd name="connsiteX6" fmla="*/ 6526 w 234940"/>
              <a:gd name="connsiteY6" fmla="*/ 63086 h 174029"/>
              <a:gd name="connsiteX7" fmla="*/ 10877 w 234940"/>
              <a:gd name="connsiteY7" fmla="*/ 61345 h 174029"/>
              <a:gd name="connsiteX8" fmla="*/ 77878 w 234940"/>
              <a:gd name="connsiteY8" fmla="*/ 110944 h 174029"/>
              <a:gd name="connsiteX9" fmla="*/ 117905 w 234940"/>
              <a:gd name="connsiteY9" fmla="*/ 131827 h 174029"/>
              <a:gd name="connsiteX10" fmla="*/ 157932 w 234940"/>
              <a:gd name="connsiteY10" fmla="*/ 110944 h 174029"/>
              <a:gd name="connsiteX11" fmla="*/ 224933 w 234940"/>
              <a:gd name="connsiteY11" fmla="*/ 61345 h 174029"/>
              <a:gd name="connsiteX12" fmla="*/ 117905 w 234940"/>
              <a:gd name="connsiteY12" fmla="*/ 117905 h 174029"/>
              <a:gd name="connsiteX13" fmla="*/ 150101 w 234940"/>
              <a:gd name="connsiteY13" fmla="*/ 99632 h 174029"/>
              <a:gd name="connsiteX14" fmla="*/ 225804 w 234940"/>
              <a:gd name="connsiteY14" fmla="*/ 43943 h 174029"/>
              <a:gd name="connsiteX15" fmla="*/ 230154 w 234940"/>
              <a:gd name="connsiteY15" fmla="*/ 36111 h 174029"/>
              <a:gd name="connsiteX16" fmla="*/ 230154 w 234940"/>
              <a:gd name="connsiteY16" fmla="*/ 27410 h 174029"/>
              <a:gd name="connsiteX17" fmla="*/ 209271 w 234940"/>
              <a:gd name="connsiteY17" fmla="*/ 6526 h 174029"/>
              <a:gd name="connsiteX18" fmla="*/ 28280 w 234940"/>
              <a:gd name="connsiteY18" fmla="*/ 6526 h 174029"/>
              <a:gd name="connsiteX19" fmla="*/ 7396 w 234940"/>
              <a:gd name="connsiteY19" fmla="*/ 27410 h 174029"/>
              <a:gd name="connsiteX20" fmla="*/ 7396 w 234940"/>
              <a:gd name="connsiteY20" fmla="*/ 36111 h 174029"/>
              <a:gd name="connsiteX21" fmla="*/ 11747 w 234940"/>
              <a:gd name="connsiteY21" fmla="*/ 43943 h 174029"/>
              <a:gd name="connsiteX22" fmla="*/ 87450 w 234940"/>
              <a:gd name="connsiteY22" fmla="*/ 99632 h 174029"/>
              <a:gd name="connsiteX23" fmla="*/ 117905 w 234940"/>
              <a:gd name="connsiteY23" fmla="*/ 117905 h 174029"/>
              <a:gd name="connsiteX24" fmla="*/ 117905 w 234940"/>
              <a:gd name="connsiteY24" fmla="*/ 117905 h 174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234940" h="174029">
                <a:moveTo>
                  <a:pt x="224933" y="61345"/>
                </a:moveTo>
                <a:cubicBezTo>
                  <a:pt x="226674" y="59605"/>
                  <a:pt x="229284" y="61345"/>
                  <a:pt x="229284" y="63086"/>
                </a:cubicBezTo>
                <a:lnTo>
                  <a:pt x="229284" y="151841"/>
                </a:lnTo>
                <a:cubicBezTo>
                  <a:pt x="229284" y="163153"/>
                  <a:pt x="219712" y="172725"/>
                  <a:pt x="208401" y="172725"/>
                </a:cubicBezTo>
                <a:lnTo>
                  <a:pt x="27410" y="172725"/>
                </a:lnTo>
                <a:cubicBezTo>
                  <a:pt x="16098" y="172725"/>
                  <a:pt x="6526" y="163153"/>
                  <a:pt x="6526" y="151841"/>
                </a:cubicBezTo>
                <a:lnTo>
                  <a:pt x="6526" y="63086"/>
                </a:lnTo>
                <a:cubicBezTo>
                  <a:pt x="6526" y="60475"/>
                  <a:pt x="9136" y="59605"/>
                  <a:pt x="10877" y="61345"/>
                </a:cubicBezTo>
                <a:cubicBezTo>
                  <a:pt x="20449" y="69177"/>
                  <a:pt x="33501" y="78748"/>
                  <a:pt x="77878" y="110944"/>
                </a:cubicBezTo>
                <a:cubicBezTo>
                  <a:pt x="87450" y="117905"/>
                  <a:pt x="102242" y="131827"/>
                  <a:pt x="117905" y="131827"/>
                </a:cubicBezTo>
                <a:cubicBezTo>
                  <a:pt x="133568" y="131827"/>
                  <a:pt x="149230" y="117905"/>
                  <a:pt x="157932" y="110944"/>
                </a:cubicBezTo>
                <a:cubicBezTo>
                  <a:pt x="202310" y="78748"/>
                  <a:pt x="215362" y="69177"/>
                  <a:pt x="224933" y="61345"/>
                </a:cubicBezTo>
                <a:close/>
                <a:moveTo>
                  <a:pt x="117905" y="117905"/>
                </a:moveTo>
                <a:cubicBezTo>
                  <a:pt x="128347" y="117905"/>
                  <a:pt x="142269" y="104853"/>
                  <a:pt x="150101" y="99632"/>
                </a:cubicBezTo>
                <a:cubicBezTo>
                  <a:pt x="207530" y="57865"/>
                  <a:pt x="211881" y="54384"/>
                  <a:pt x="225804" y="43943"/>
                </a:cubicBezTo>
                <a:cubicBezTo>
                  <a:pt x="228414" y="42202"/>
                  <a:pt x="230154" y="38722"/>
                  <a:pt x="230154" y="36111"/>
                </a:cubicBezTo>
                <a:lnTo>
                  <a:pt x="230154" y="27410"/>
                </a:lnTo>
                <a:cubicBezTo>
                  <a:pt x="230154" y="16098"/>
                  <a:pt x="220583" y="6526"/>
                  <a:pt x="209271" y="6526"/>
                </a:cubicBezTo>
                <a:lnTo>
                  <a:pt x="28280" y="6526"/>
                </a:lnTo>
                <a:cubicBezTo>
                  <a:pt x="16968" y="6526"/>
                  <a:pt x="7396" y="16098"/>
                  <a:pt x="7396" y="27410"/>
                </a:cubicBezTo>
                <a:lnTo>
                  <a:pt x="7396" y="36111"/>
                </a:lnTo>
                <a:cubicBezTo>
                  <a:pt x="7396" y="39592"/>
                  <a:pt x="9136" y="42202"/>
                  <a:pt x="11747" y="43943"/>
                </a:cubicBezTo>
                <a:cubicBezTo>
                  <a:pt x="24799" y="54384"/>
                  <a:pt x="29150" y="57865"/>
                  <a:pt x="87450" y="99632"/>
                </a:cubicBezTo>
                <a:cubicBezTo>
                  <a:pt x="93541" y="104853"/>
                  <a:pt x="107463" y="117905"/>
                  <a:pt x="117905" y="117905"/>
                </a:cubicBezTo>
                <a:lnTo>
                  <a:pt x="117905" y="117905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1984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8CF6F67-388D-401C-A71E-276FE8A0BAB6}"/>
              </a:ext>
            </a:extLst>
          </p:cNvPr>
          <p:cNvSpPr/>
          <p:nvPr userDrawn="1"/>
        </p:nvSpPr>
        <p:spPr>
          <a:xfrm>
            <a:off x="948508" y="5695487"/>
            <a:ext cx="277971" cy="277971"/>
          </a:xfrm>
          <a:custGeom>
            <a:avLst/>
            <a:gdLst>
              <a:gd name="connsiteX0" fmla="*/ 161426 w 226257"/>
              <a:gd name="connsiteY0" fmla="*/ 86587 h 226257"/>
              <a:gd name="connsiteX1" fmla="*/ 218861 w 226257"/>
              <a:gd name="connsiteY1" fmla="*/ 86587 h 226257"/>
              <a:gd name="connsiteX2" fmla="*/ 222342 w 226257"/>
              <a:gd name="connsiteY2" fmla="*/ 114434 h 226257"/>
              <a:gd name="connsiteX3" fmla="*/ 218861 w 226257"/>
              <a:gd name="connsiteY3" fmla="*/ 142281 h 226257"/>
              <a:gd name="connsiteX4" fmla="*/ 161426 w 226257"/>
              <a:gd name="connsiteY4" fmla="*/ 142281 h 226257"/>
              <a:gd name="connsiteX5" fmla="*/ 161426 w 226257"/>
              <a:gd name="connsiteY5" fmla="*/ 86587 h 226257"/>
              <a:gd name="connsiteX6" fmla="*/ 83976 w 226257"/>
              <a:gd name="connsiteY6" fmla="*/ 156205 h 226257"/>
              <a:gd name="connsiteX7" fmla="*/ 114434 w 226257"/>
              <a:gd name="connsiteY7" fmla="*/ 222342 h 226257"/>
              <a:gd name="connsiteX8" fmla="*/ 114434 w 226257"/>
              <a:gd name="connsiteY8" fmla="*/ 222342 h 226257"/>
              <a:gd name="connsiteX9" fmla="*/ 114434 w 226257"/>
              <a:gd name="connsiteY9" fmla="*/ 222342 h 226257"/>
              <a:gd name="connsiteX10" fmla="*/ 144892 w 226257"/>
              <a:gd name="connsiteY10" fmla="*/ 156205 h 226257"/>
              <a:gd name="connsiteX11" fmla="*/ 83976 w 226257"/>
              <a:gd name="connsiteY11" fmla="*/ 156205 h 226257"/>
              <a:gd name="connsiteX12" fmla="*/ 159686 w 226257"/>
              <a:gd name="connsiteY12" fmla="*/ 72664 h 226257"/>
              <a:gd name="connsiteX13" fmla="*/ 214510 w 226257"/>
              <a:gd name="connsiteY13" fmla="*/ 72664 h 226257"/>
              <a:gd name="connsiteX14" fmla="*/ 134449 w 226257"/>
              <a:gd name="connsiteY14" fmla="*/ 8267 h 226257"/>
              <a:gd name="connsiteX15" fmla="*/ 159686 w 226257"/>
              <a:gd name="connsiteY15" fmla="*/ 72664 h 226257"/>
              <a:gd name="connsiteX16" fmla="*/ 159686 w 226257"/>
              <a:gd name="connsiteY16" fmla="*/ 72664 h 226257"/>
              <a:gd name="connsiteX17" fmla="*/ 147503 w 226257"/>
              <a:gd name="connsiteY17" fmla="*/ 86587 h 226257"/>
              <a:gd name="connsiteX18" fmla="*/ 81366 w 226257"/>
              <a:gd name="connsiteY18" fmla="*/ 86587 h 226257"/>
              <a:gd name="connsiteX19" fmla="*/ 81366 w 226257"/>
              <a:gd name="connsiteY19" fmla="*/ 142281 h 226257"/>
              <a:gd name="connsiteX20" fmla="*/ 147503 w 226257"/>
              <a:gd name="connsiteY20" fmla="*/ 142281 h 226257"/>
              <a:gd name="connsiteX21" fmla="*/ 147503 w 226257"/>
              <a:gd name="connsiteY21" fmla="*/ 86587 h 226257"/>
              <a:gd name="connsiteX22" fmla="*/ 69183 w 226257"/>
              <a:gd name="connsiteY22" fmla="*/ 156205 h 226257"/>
              <a:gd name="connsiteX23" fmla="*/ 15229 w 226257"/>
              <a:gd name="connsiteY23" fmla="*/ 156205 h 226257"/>
              <a:gd name="connsiteX24" fmla="*/ 95289 w 226257"/>
              <a:gd name="connsiteY24" fmla="*/ 220601 h 226257"/>
              <a:gd name="connsiteX25" fmla="*/ 69183 w 226257"/>
              <a:gd name="connsiteY25" fmla="*/ 156205 h 226257"/>
              <a:gd name="connsiteX26" fmla="*/ 69183 w 226257"/>
              <a:gd name="connsiteY26" fmla="*/ 156205 h 226257"/>
              <a:gd name="connsiteX27" fmla="*/ 159686 w 226257"/>
              <a:gd name="connsiteY27" fmla="*/ 156205 h 226257"/>
              <a:gd name="connsiteX28" fmla="*/ 134449 w 226257"/>
              <a:gd name="connsiteY28" fmla="*/ 220601 h 226257"/>
              <a:gd name="connsiteX29" fmla="*/ 214510 w 226257"/>
              <a:gd name="connsiteY29" fmla="*/ 156205 h 226257"/>
              <a:gd name="connsiteX30" fmla="*/ 159686 w 226257"/>
              <a:gd name="connsiteY30" fmla="*/ 156205 h 226257"/>
              <a:gd name="connsiteX31" fmla="*/ 144892 w 226257"/>
              <a:gd name="connsiteY31" fmla="*/ 72664 h 226257"/>
              <a:gd name="connsiteX32" fmla="*/ 114434 w 226257"/>
              <a:gd name="connsiteY32" fmla="*/ 6527 h 226257"/>
              <a:gd name="connsiteX33" fmla="*/ 114434 w 226257"/>
              <a:gd name="connsiteY33" fmla="*/ 6527 h 226257"/>
              <a:gd name="connsiteX34" fmla="*/ 114434 w 226257"/>
              <a:gd name="connsiteY34" fmla="*/ 6527 h 226257"/>
              <a:gd name="connsiteX35" fmla="*/ 83976 w 226257"/>
              <a:gd name="connsiteY35" fmla="*/ 72664 h 226257"/>
              <a:gd name="connsiteX36" fmla="*/ 144892 w 226257"/>
              <a:gd name="connsiteY36" fmla="*/ 72664 h 226257"/>
              <a:gd name="connsiteX37" fmla="*/ 10008 w 226257"/>
              <a:gd name="connsiteY37" fmla="*/ 86587 h 226257"/>
              <a:gd name="connsiteX38" fmla="*/ 6527 w 226257"/>
              <a:gd name="connsiteY38" fmla="*/ 114434 h 226257"/>
              <a:gd name="connsiteX39" fmla="*/ 10008 w 226257"/>
              <a:gd name="connsiteY39" fmla="*/ 142281 h 226257"/>
              <a:gd name="connsiteX40" fmla="*/ 67442 w 226257"/>
              <a:gd name="connsiteY40" fmla="*/ 142281 h 226257"/>
              <a:gd name="connsiteX41" fmla="*/ 67442 w 226257"/>
              <a:gd name="connsiteY41" fmla="*/ 86587 h 226257"/>
              <a:gd name="connsiteX42" fmla="*/ 10008 w 226257"/>
              <a:gd name="connsiteY42" fmla="*/ 86587 h 226257"/>
              <a:gd name="connsiteX43" fmla="*/ 69183 w 226257"/>
              <a:gd name="connsiteY43" fmla="*/ 72664 h 226257"/>
              <a:gd name="connsiteX44" fmla="*/ 94419 w 226257"/>
              <a:gd name="connsiteY44" fmla="*/ 8267 h 226257"/>
              <a:gd name="connsiteX45" fmla="*/ 14359 w 226257"/>
              <a:gd name="connsiteY45" fmla="*/ 72664 h 226257"/>
              <a:gd name="connsiteX46" fmla="*/ 69183 w 226257"/>
              <a:gd name="connsiteY46" fmla="*/ 72664 h 226257"/>
              <a:gd name="connsiteX47" fmla="*/ 69183 w 226257"/>
              <a:gd name="connsiteY47" fmla="*/ 72664 h 226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26257" h="226257">
                <a:moveTo>
                  <a:pt x="161426" y="86587"/>
                </a:moveTo>
                <a:lnTo>
                  <a:pt x="218861" y="86587"/>
                </a:lnTo>
                <a:cubicBezTo>
                  <a:pt x="221472" y="95289"/>
                  <a:pt x="222342" y="104862"/>
                  <a:pt x="222342" y="114434"/>
                </a:cubicBezTo>
                <a:cubicBezTo>
                  <a:pt x="222342" y="124007"/>
                  <a:pt x="221472" y="133579"/>
                  <a:pt x="218861" y="142281"/>
                </a:cubicBezTo>
                <a:lnTo>
                  <a:pt x="161426" y="142281"/>
                </a:lnTo>
                <a:cubicBezTo>
                  <a:pt x="164037" y="123136"/>
                  <a:pt x="164037" y="104862"/>
                  <a:pt x="161426" y="86587"/>
                </a:cubicBezTo>
                <a:close/>
                <a:moveTo>
                  <a:pt x="83976" y="156205"/>
                </a:moveTo>
                <a:cubicBezTo>
                  <a:pt x="88328" y="179701"/>
                  <a:pt x="98770" y="204937"/>
                  <a:pt x="114434" y="222342"/>
                </a:cubicBezTo>
                <a:cubicBezTo>
                  <a:pt x="114434" y="222342"/>
                  <a:pt x="114434" y="222342"/>
                  <a:pt x="114434" y="222342"/>
                </a:cubicBezTo>
                <a:cubicBezTo>
                  <a:pt x="114434" y="222342"/>
                  <a:pt x="114434" y="222342"/>
                  <a:pt x="114434" y="222342"/>
                </a:cubicBezTo>
                <a:cubicBezTo>
                  <a:pt x="130969" y="204937"/>
                  <a:pt x="140541" y="179701"/>
                  <a:pt x="144892" y="156205"/>
                </a:cubicBezTo>
                <a:lnTo>
                  <a:pt x="83976" y="156205"/>
                </a:lnTo>
                <a:close/>
                <a:moveTo>
                  <a:pt x="159686" y="72664"/>
                </a:moveTo>
                <a:lnTo>
                  <a:pt x="214510" y="72664"/>
                </a:lnTo>
                <a:cubicBezTo>
                  <a:pt x="200586" y="39595"/>
                  <a:pt x="170999" y="15229"/>
                  <a:pt x="134449" y="8267"/>
                </a:cubicBezTo>
                <a:cubicBezTo>
                  <a:pt x="147503" y="27412"/>
                  <a:pt x="155335" y="50038"/>
                  <a:pt x="159686" y="72664"/>
                </a:cubicBezTo>
                <a:lnTo>
                  <a:pt x="159686" y="72664"/>
                </a:lnTo>
                <a:close/>
                <a:moveTo>
                  <a:pt x="147503" y="86587"/>
                </a:moveTo>
                <a:lnTo>
                  <a:pt x="81366" y="86587"/>
                </a:lnTo>
                <a:cubicBezTo>
                  <a:pt x="78755" y="104862"/>
                  <a:pt x="78755" y="124007"/>
                  <a:pt x="81366" y="142281"/>
                </a:cubicBezTo>
                <a:lnTo>
                  <a:pt x="147503" y="142281"/>
                </a:lnTo>
                <a:cubicBezTo>
                  <a:pt x="150113" y="124007"/>
                  <a:pt x="150113" y="104862"/>
                  <a:pt x="147503" y="86587"/>
                </a:cubicBezTo>
                <a:close/>
                <a:moveTo>
                  <a:pt x="69183" y="156205"/>
                </a:moveTo>
                <a:lnTo>
                  <a:pt x="15229" y="156205"/>
                </a:lnTo>
                <a:cubicBezTo>
                  <a:pt x="29152" y="189273"/>
                  <a:pt x="58740" y="213640"/>
                  <a:pt x="95289" y="220601"/>
                </a:cubicBezTo>
                <a:cubicBezTo>
                  <a:pt x="81366" y="201456"/>
                  <a:pt x="73534" y="178831"/>
                  <a:pt x="69183" y="156205"/>
                </a:cubicBezTo>
                <a:lnTo>
                  <a:pt x="69183" y="156205"/>
                </a:lnTo>
                <a:close/>
                <a:moveTo>
                  <a:pt x="159686" y="156205"/>
                </a:moveTo>
                <a:cubicBezTo>
                  <a:pt x="155335" y="178831"/>
                  <a:pt x="147503" y="201456"/>
                  <a:pt x="134449" y="220601"/>
                </a:cubicBezTo>
                <a:cubicBezTo>
                  <a:pt x="170999" y="213640"/>
                  <a:pt x="200586" y="189273"/>
                  <a:pt x="214510" y="156205"/>
                </a:cubicBezTo>
                <a:lnTo>
                  <a:pt x="159686" y="156205"/>
                </a:lnTo>
                <a:close/>
                <a:moveTo>
                  <a:pt x="144892" y="72664"/>
                </a:moveTo>
                <a:cubicBezTo>
                  <a:pt x="140541" y="49168"/>
                  <a:pt x="130098" y="23931"/>
                  <a:pt x="114434" y="6527"/>
                </a:cubicBezTo>
                <a:cubicBezTo>
                  <a:pt x="114434" y="6527"/>
                  <a:pt x="114434" y="6527"/>
                  <a:pt x="114434" y="6527"/>
                </a:cubicBezTo>
                <a:cubicBezTo>
                  <a:pt x="114434" y="6527"/>
                  <a:pt x="114434" y="6527"/>
                  <a:pt x="114434" y="6527"/>
                </a:cubicBezTo>
                <a:cubicBezTo>
                  <a:pt x="97900" y="23931"/>
                  <a:pt x="88328" y="49168"/>
                  <a:pt x="83976" y="72664"/>
                </a:cubicBezTo>
                <a:lnTo>
                  <a:pt x="144892" y="72664"/>
                </a:lnTo>
                <a:close/>
                <a:moveTo>
                  <a:pt x="10008" y="86587"/>
                </a:moveTo>
                <a:cubicBezTo>
                  <a:pt x="7397" y="95289"/>
                  <a:pt x="6527" y="104862"/>
                  <a:pt x="6527" y="114434"/>
                </a:cubicBezTo>
                <a:cubicBezTo>
                  <a:pt x="6527" y="124007"/>
                  <a:pt x="7397" y="133579"/>
                  <a:pt x="10008" y="142281"/>
                </a:cubicBezTo>
                <a:lnTo>
                  <a:pt x="67442" y="142281"/>
                </a:lnTo>
                <a:cubicBezTo>
                  <a:pt x="65702" y="124007"/>
                  <a:pt x="64832" y="105732"/>
                  <a:pt x="67442" y="86587"/>
                </a:cubicBezTo>
                <a:lnTo>
                  <a:pt x="10008" y="86587"/>
                </a:lnTo>
                <a:close/>
                <a:moveTo>
                  <a:pt x="69183" y="72664"/>
                </a:moveTo>
                <a:cubicBezTo>
                  <a:pt x="73534" y="50038"/>
                  <a:pt x="81366" y="27412"/>
                  <a:pt x="94419" y="8267"/>
                </a:cubicBezTo>
                <a:cubicBezTo>
                  <a:pt x="57870" y="15229"/>
                  <a:pt x="28282" y="39595"/>
                  <a:pt x="14359" y="72664"/>
                </a:cubicBezTo>
                <a:lnTo>
                  <a:pt x="69183" y="72664"/>
                </a:lnTo>
                <a:lnTo>
                  <a:pt x="69183" y="72664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1984"/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8957EE8E-E699-4F59-81B0-A47C904F09C6}"/>
              </a:ext>
            </a:extLst>
          </p:cNvPr>
          <p:cNvSpPr txBox="1">
            <a:spLocks/>
          </p:cNvSpPr>
          <p:nvPr userDrawn="1"/>
        </p:nvSpPr>
        <p:spPr>
          <a:xfrm>
            <a:off x="727828" y="2887395"/>
            <a:ext cx="6728049" cy="1499736"/>
          </a:xfrm>
          <a:prstGeom prst="rect">
            <a:avLst/>
          </a:prstGeom>
        </p:spPr>
        <p:txBody>
          <a:bodyPr anchor="b"/>
          <a:lstStyle>
            <a:lvl1pPr algn="ctr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600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hank you</a:t>
            </a:r>
            <a:endParaRPr kumimoji="0" lang="en-GB" sz="6000" b="0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6AE3396-E050-4CBA-9639-D79A2F9868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27149" y="4818117"/>
            <a:ext cx="4148099" cy="24923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67AD1911-4043-40E5-B8BE-F308CCB5AF2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7149" y="5256844"/>
            <a:ext cx="4148099" cy="24923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3F02C362-5584-4F4E-B0A8-EC42A44FD5D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327149" y="5709854"/>
            <a:ext cx="4148099" cy="24923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525EBBE-7AB2-47D3-A2D8-6D3D609399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7459" y="682683"/>
            <a:ext cx="2056571" cy="909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224892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- Gree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: Shape 4">
            <a:extLst>
              <a:ext uri="{FF2B5EF4-FFF2-40B4-BE49-F238E27FC236}">
                <a16:creationId xmlns:a16="http://schemas.microsoft.com/office/drawing/2014/main" id="{F01C412C-ADDF-48A6-B377-EC10846B059F}"/>
              </a:ext>
            </a:extLst>
          </p:cNvPr>
          <p:cNvSpPr>
            <a:spLocks/>
          </p:cNvSpPr>
          <p:nvPr userDrawn="1"/>
        </p:nvSpPr>
        <p:spPr>
          <a:xfrm>
            <a:off x="959363" y="4818031"/>
            <a:ext cx="249408" cy="249408"/>
          </a:xfrm>
          <a:custGeom>
            <a:avLst/>
            <a:gdLst>
              <a:gd name="connsiteX0" fmla="*/ 179730 w 199218"/>
              <a:gd name="connsiteY0" fmla="*/ 6496 h 199218"/>
              <a:gd name="connsiteX1" fmla="*/ 27284 w 199218"/>
              <a:gd name="connsiteY1" fmla="*/ 6496 h 199218"/>
              <a:gd name="connsiteX2" fmla="*/ 6496 w 199218"/>
              <a:gd name="connsiteY2" fmla="*/ 27284 h 199218"/>
              <a:gd name="connsiteX3" fmla="*/ 6496 w 199218"/>
              <a:gd name="connsiteY3" fmla="*/ 179730 h 199218"/>
              <a:gd name="connsiteX4" fmla="*/ 27284 w 199218"/>
              <a:gd name="connsiteY4" fmla="*/ 200518 h 199218"/>
              <a:gd name="connsiteX5" fmla="*/ 179730 w 199218"/>
              <a:gd name="connsiteY5" fmla="*/ 200518 h 199218"/>
              <a:gd name="connsiteX6" fmla="*/ 200518 w 199218"/>
              <a:gd name="connsiteY6" fmla="*/ 179730 h 199218"/>
              <a:gd name="connsiteX7" fmla="*/ 200518 w 199218"/>
              <a:gd name="connsiteY7" fmla="*/ 27284 h 199218"/>
              <a:gd name="connsiteX8" fmla="*/ 179730 w 199218"/>
              <a:gd name="connsiteY8" fmla="*/ 6496 h 199218"/>
              <a:gd name="connsiteX9" fmla="*/ 47206 w 199218"/>
              <a:gd name="connsiteY9" fmla="*/ 172801 h 199218"/>
              <a:gd name="connsiteX10" fmla="*/ 41143 w 199218"/>
              <a:gd name="connsiteY10" fmla="*/ 167604 h 199218"/>
              <a:gd name="connsiteX11" fmla="*/ 35080 w 199218"/>
              <a:gd name="connsiteY11" fmla="*/ 139020 h 199218"/>
              <a:gd name="connsiteX12" fmla="*/ 38545 w 199218"/>
              <a:gd name="connsiteY12" fmla="*/ 131225 h 199218"/>
              <a:gd name="connsiteX13" fmla="*/ 68860 w 199218"/>
              <a:gd name="connsiteY13" fmla="*/ 118232 h 199218"/>
              <a:gd name="connsiteX14" fmla="*/ 76656 w 199218"/>
              <a:gd name="connsiteY14" fmla="*/ 119964 h 199218"/>
              <a:gd name="connsiteX15" fmla="*/ 89649 w 199218"/>
              <a:gd name="connsiteY15" fmla="*/ 136422 h 199218"/>
              <a:gd name="connsiteX16" fmla="*/ 137288 w 199218"/>
              <a:gd name="connsiteY16" fmla="*/ 88782 h 199218"/>
              <a:gd name="connsiteX17" fmla="*/ 120831 w 199218"/>
              <a:gd name="connsiteY17" fmla="*/ 75790 h 199218"/>
              <a:gd name="connsiteX18" fmla="*/ 119098 w 199218"/>
              <a:gd name="connsiteY18" fmla="*/ 67994 h 199218"/>
              <a:gd name="connsiteX19" fmla="*/ 132091 w 199218"/>
              <a:gd name="connsiteY19" fmla="*/ 37678 h 199218"/>
              <a:gd name="connsiteX20" fmla="*/ 139886 w 199218"/>
              <a:gd name="connsiteY20" fmla="*/ 34214 h 199218"/>
              <a:gd name="connsiteX21" fmla="*/ 168470 w 199218"/>
              <a:gd name="connsiteY21" fmla="*/ 40277 h 199218"/>
              <a:gd name="connsiteX22" fmla="*/ 173667 w 199218"/>
              <a:gd name="connsiteY22" fmla="*/ 46340 h 199218"/>
              <a:gd name="connsiteX23" fmla="*/ 47206 w 199218"/>
              <a:gd name="connsiteY23" fmla="*/ 172801 h 19921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199218" h="199218">
                <a:moveTo>
                  <a:pt x="179730" y="6496"/>
                </a:moveTo>
                <a:lnTo>
                  <a:pt x="27284" y="6496"/>
                </a:lnTo>
                <a:cubicBezTo>
                  <a:pt x="16024" y="6496"/>
                  <a:pt x="6496" y="16024"/>
                  <a:pt x="6496" y="27284"/>
                </a:cubicBezTo>
                <a:lnTo>
                  <a:pt x="6496" y="179730"/>
                </a:lnTo>
                <a:cubicBezTo>
                  <a:pt x="6496" y="190990"/>
                  <a:pt x="16024" y="200518"/>
                  <a:pt x="27284" y="200518"/>
                </a:cubicBezTo>
                <a:lnTo>
                  <a:pt x="179730" y="200518"/>
                </a:lnTo>
                <a:cubicBezTo>
                  <a:pt x="190990" y="200518"/>
                  <a:pt x="200518" y="190990"/>
                  <a:pt x="200518" y="179730"/>
                </a:cubicBezTo>
                <a:lnTo>
                  <a:pt x="200518" y="27284"/>
                </a:lnTo>
                <a:cubicBezTo>
                  <a:pt x="200518" y="16024"/>
                  <a:pt x="190990" y="6496"/>
                  <a:pt x="179730" y="6496"/>
                </a:cubicBezTo>
                <a:close/>
                <a:moveTo>
                  <a:pt x="47206" y="172801"/>
                </a:moveTo>
                <a:cubicBezTo>
                  <a:pt x="43742" y="172801"/>
                  <a:pt x="41143" y="171068"/>
                  <a:pt x="41143" y="167604"/>
                </a:cubicBezTo>
                <a:lnTo>
                  <a:pt x="35080" y="139020"/>
                </a:lnTo>
                <a:cubicBezTo>
                  <a:pt x="34214" y="135555"/>
                  <a:pt x="35946" y="132957"/>
                  <a:pt x="38545" y="131225"/>
                </a:cubicBezTo>
                <a:lnTo>
                  <a:pt x="68860" y="118232"/>
                </a:lnTo>
                <a:cubicBezTo>
                  <a:pt x="71459" y="117366"/>
                  <a:pt x="74924" y="118232"/>
                  <a:pt x="76656" y="119964"/>
                </a:cubicBezTo>
                <a:lnTo>
                  <a:pt x="89649" y="136422"/>
                </a:lnTo>
                <a:cubicBezTo>
                  <a:pt x="110437" y="126894"/>
                  <a:pt x="127760" y="109570"/>
                  <a:pt x="137288" y="88782"/>
                </a:cubicBezTo>
                <a:lnTo>
                  <a:pt x="120831" y="75790"/>
                </a:lnTo>
                <a:cubicBezTo>
                  <a:pt x="118232" y="74057"/>
                  <a:pt x="118232" y="70593"/>
                  <a:pt x="119098" y="67994"/>
                </a:cubicBezTo>
                <a:lnTo>
                  <a:pt x="132091" y="37678"/>
                </a:lnTo>
                <a:cubicBezTo>
                  <a:pt x="132957" y="35080"/>
                  <a:pt x="136422" y="33348"/>
                  <a:pt x="139886" y="34214"/>
                </a:cubicBezTo>
                <a:lnTo>
                  <a:pt x="168470" y="40277"/>
                </a:lnTo>
                <a:cubicBezTo>
                  <a:pt x="171068" y="41143"/>
                  <a:pt x="173667" y="43741"/>
                  <a:pt x="173667" y="46340"/>
                </a:cubicBezTo>
                <a:cubicBezTo>
                  <a:pt x="172801" y="116500"/>
                  <a:pt x="116500" y="172801"/>
                  <a:pt x="47206" y="172801"/>
                </a:cubicBez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1984"/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id="{9260E8DF-A773-47F3-B284-B5EB409534FC}"/>
              </a:ext>
            </a:extLst>
          </p:cNvPr>
          <p:cNvSpPr>
            <a:spLocks/>
          </p:cNvSpPr>
          <p:nvPr userDrawn="1"/>
        </p:nvSpPr>
        <p:spPr>
          <a:xfrm>
            <a:off x="948509" y="5277436"/>
            <a:ext cx="265660" cy="208053"/>
          </a:xfrm>
          <a:custGeom>
            <a:avLst/>
            <a:gdLst>
              <a:gd name="connsiteX0" fmla="*/ 224933 w 234940"/>
              <a:gd name="connsiteY0" fmla="*/ 61345 h 174029"/>
              <a:gd name="connsiteX1" fmla="*/ 229284 w 234940"/>
              <a:gd name="connsiteY1" fmla="*/ 63086 h 174029"/>
              <a:gd name="connsiteX2" fmla="*/ 229284 w 234940"/>
              <a:gd name="connsiteY2" fmla="*/ 151841 h 174029"/>
              <a:gd name="connsiteX3" fmla="*/ 208401 w 234940"/>
              <a:gd name="connsiteY3" fmla="*/ 172725 h 174029"/>
              <a:gd name="connsiteX4" fmla="*/ 27410 w 234940"/>
              <a:gd name="connsiteY4" fmla="*/ 172725 h 174029"/>
              <a:gd name="connsiteX5" fmla="*/ 6526 w 234940"/>
              <a:gd name="connsiteY5" fmla="*/ 151841 h 174029"/>
              <a:gd name="connsiteX6" fmla="*/ 6526 w 234940"/>
              <a:gd name="connsiteY6" fmla="*/ 63086 h 174029"/>
              <a:gd name="connsiteX7" fmla="*/ 10877 w 234940"/>
              <a:gd name="connsiteY7" fmla="*/ 61345 h 174029"/>
              <a:gd name="connsiteX8" fmla="*/ 77878 w 234940"/>
              <a:gd name="connsiteY8" fmla="*/ 110944 h 174029"/>
              <a:gd name="connsiteX9" fmla="*/ 117905 w 234940"/>
              <a:gd name="connsiteY9" fmla="*/ 131827 h 174029"/>
              <a:gd name="connsiteX10" fmla="*/ 157932 w 234940"/>
              <a:gd name="connsiteY10" fmla="*/ 110944 h 174029"/>
              <a:gd name="connsiteX11" fmla="*/ 224933 w 234940"/>
              <a:gd name="connsiteY11" fmla="*/ 61345 h 174029"/>
              <a:gd name="connsiteX12" fmla="*/ 117905 w 234940"/>
              <a:gd name="connsiteY12" fmla="*/ 117905 h 174029"/>
              <a:gd name="connsiteX13" fmla="*/ 150101 w 234940"/>
              <a:gd name="connsiteY13" fmla="*/ 99632 h 174029"/>
              <a:gd name="connsiteX14" fmla="*/ 225804 w 234940"/>
              <a:gd name="connsiteY14" fmla="*/ 43943 h 174029"/>
              <a:gd name="connsiteX15" fmla="*/ 230154 w 234940"/>
              <a:gd name="connsiteY15" fmla="*/ 36111 h 174029"/>
              <a:gd name="connsiteX16" fmla="*/ 230154 w 234940"/>
              <a:gd name="connsiteY16" fmla="*/ 27410 h 174029"/>
              <a:gd name="connsiteX17" fmla="*/ 209271 w 234940"/>
              <a:gd name="connsiteY17" fmla="*/ 6526 h 174029"/>
              <a:gd name="connsiteX18" fmla="*/ 28280 w 234940"/>
              <a:gd name="connsiteY18" fmla="*/ 6526 h 174029"/>
              <a:gd name="connsiteX19" fmla="*/ 7396 w 234940"/>
              <a:gd name="connsiteY19" fmla="*/ 27410 h 174029"/>
              <a:gd name="connsiteX20" fmla="*/ 7396 w 234940"/>
              <a:gd name="connsiteY20" fmla="*/ 36111 h 174029"/>
              <a:gd name="connsiteX21" fmla="*/ 11747 w 234940"/>
              <a:gd name="connsiteY21" fmla="*/ 43943 h 174029"/>
              <a:gd name="connsiteX22" fmla="*/ 87450 w 234940"/>
              <a:gd name="connsiteY22" fmla="*/ 99632 h 174029"/>
              <a:gd name="connsiteX23" fmla="*/ 117905 w 234940"/>
              <a:gd name="connsiteY23" fmla="*/ 117905 h 174029"/>
              <a:gd name="connsiteX24" fmla="*/ 117905 w 234940"/>
              <a:gd name="connsiteY24" fmla="*/ 117905 h 17402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</a:cxnLst>
            <a:rect l="l" t="t" r="r" b="b"/>
            <a:pathLst>
              <a:path w="234940" h="174029">
                <a:moveTo>
                  <a:pt x="224933" y="61345"/>
                </a:moveTo>
                <a:cubicBezTo>
                  <a:pt x="226674" y="59605"/>
                  <a:pt x="229284" y="61345"/>
                  <a:pt x="229284" y="63086"/>
                </a:cubicBezTo>
                <a:lnTo>
                  <a:pt x="229284" y="151841"/>
                </a:lnTo>
                <a:cubicBezTo>
                  <a:pt x="229284" y="163153"/>
                  <a:pt x="219712" y="172725"/>
                  <a:pt x="208401" y="172725"/>
                </a:cubicBezTo>
                <a:lnTo>
                  <a:pt x="27410" y="172725"/>
                </a:lnTo>
                <a:cubicBezTo>
                  <a:pt x="16098" y="172725"/>
                  <a:pt x="6526" y="163153"/>
                  <a:pt x="6526" y="151841"/>
                </a:cubicBezTo>
                <a:lnTo>
                  <a:pt x="6526" y="63086"/>
                </a:lnTo>
                <a:cubicBezTo>
                  <a:pt x="6526" y="60475"/>
                  <a:pt x="9136" y="59605"/>
                  <a:pt x="10877" y="61345"/>
                </a:cubicBezTo>
                <a:cubicBezTo>
                  <a:pt x="20449" y="69177"/>
                  <a:pt x="33501" y="78748"/>
                  <a:pt x="77878" y="110944"/>
                </a:cubicBezTo>
                <a:cubicBezTo>
                  <a:pt x="87450" y="117905"/>
                  <a:pt x="102242" y="131827"/>
                  <a:pt x="117905" y="131827"/>
                </a:cubicBezTo>
                <a:cubicBezTo>
                  <a:pt x="133568" y="131827"/>
                  <a:pt x="149230" y="117905"/>
                  <a:pt x="157932" y="110944"/>
                </a:cubicBezTo>
                <a:cubicBezTo>
                  <a:pt x="202310" y="78748"/>
                  <a:pt x="215362" y="69177"/>
                  <a:pt x="224933" y="61345"/>
                </a:cubicBezTo>
                <a:close/>
                <a:moveTo>
                  <a:pt x="117905" y="117905"/>
                </a:moveTo>
                <a:cubicBezTo>
                  <a:pt x="128347" y="117905"/>
                  <a:pt x="142269" y="104853"/>
                  <a:pt x="150101" y="99632"/>
                </a:cubicBezTo>
                <a:cubicBezTo>
                  <a:pt x="207530" y="57865"/>
                  <a:pt x="211881" y="54384"/>
                  <a:pt x="225804" y="43943"/>
                </a:cubicBezTo>
                <a:cubicBezTo>
                  <a:pt x="228414" y="42202"/>
                  <a:pt x="230154" y="38722"/>
                  <a:pt x="230154" y="36111"/>
                </a:cubicBezTo>
                <a:lnTo>
                  <a:pt x="230154" y="27410"/>
                </a:lnTo>
                <a:cubicBezTo>
                  <a:pt x="230154" y="16098"/>
                  <a:pt x="220583" y="6526"/>
                  <a:pt x="209271" y="6526"/>
                </a:cubicBezTo>
                <a:lnTo>
                  <a:pt x="28280" y="6526"/>
                </a:lnTo>
                <a:cubicBezTo>
                  <a:pt x="16968" y="6526"/>
                  <a:pt x="7396" y="16098"/>
                  <a:pt x="7396" y="27410"/>
                </a:cubicBezTo>
                <a:lnTo>
                  <a:pt x="7396" y="36111"/>
                </a:lnTo>
                <a:cubicBezTo>
                  <a:pt x="7396" y="39592"/>
                  <a:pt x="9136" y="42202"/>
                  <a:pt x="11747" y="43943"/>
                </a:cubicBezTo>
                <a:cubicBezTo>
                  <a:pt x="24799" y="54384"/>
                  <a:pt x="29150" y="57865"/>
                  <a:pt x="87450" y="99632"/>
                </a:cubicBezTo>
                <a:cubicBezTo>
                  <a:pt x="93541" y="104853"/>
                  <a:pt x="107463" y="117905"/>
                  <a:pt x="117905" y="117905"/>
                </a:cubicBezTo>
                <a:lnTo>
                  <a:pt x="117905" y="117905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1984"/>
          </a:p>
        </p:txBody>
      </p:sp>
      <p:sp>
        <p:nvSpPr>
          <p:cNvPr id="7" name="Freeform: Shape 6">
            <a:extLst>
              <a:ext uri="{FF2B5EF4-FFF2-40B4-BE49-F238E27FC236}">
                <a16:creationId xmlns:a16="http://schemas.microsoft.com/office/drawing/2014/main" id="{B8CF6F67-388D-401C-A71E-276FE8A0BAB6}"/>
              </a:ext>
            </a:extLst>
          </p:cNvPr>
          <p:cNvSpPr/>
          <p:nvPr userDrawn="1"/>
        </p:nvSpPr>
        <p:spPr>
          <a:xfrm>
            <a:off x="948508" y="5695487"/>
            <a:ext cx="277971" cy="277971"/>
          </a:xfrm>
          <a:custGeom>
            <a:avLst/>
            <a:gdLst>
              <a:gd name="connsiteX0" fmla="*/ 161426 w 226257"/>
              <a:gd name="connsiteY0" fmla="*/ 86587 h 226257"/>
              <a:gd name="connsiteX1" fmla="*/ 218861 w 226257"/>
              <a:gd name="connsiteY1" fmla="*/ 86587 h 226257"/>
              <a:gd name="connsiteX2" fmla="*/ 222342 w 226257"/>
              <a:gd name="connsiteY2" fmla="*/ 114434 h 226257"/>
              <a:gd name="connsiteX3" fmla="*/ 218861 w 226257"/>
              <a:gd name="connsiteY3" fmla="*/ 142281 h 226257"/>
              <a:gd name="connsiteX4" fmla="*/ 161426 w 226257"/>
              <a:gd name="connsiteY4" fmla="*/ 142281 h 226257"/>
              <a:gd name="connsiteX5" fmla="*/ 161426 w 226257"/>
              <a:gd name="connsiteY5" fmla="*/ 86587 h 226257"/>
              <a:gd name="connsiteX6" fmla="*/ 83976 w 226257"/>
              <a:gd name="connsiteY6" fmla="*/ 156205 h 226257"/>
              <a:gd name="connsiteX7" fmla="*/ 114434 w 226257"/>
              <a:gd name="connsiteY7" fmla="*/ 222342 h 226257"/>
              <a:gd name="connsiteX8" fmla="*/ 114434 w 226257"/>
              <a:gd name="connsiteY8" fmla="*/ 222342 h 226257"/>
              <a:gd name="connsiteX9" fmla="*/ 114434 w 226257"/>
              <a:gd name="connsiteY9" fmla="*/ 222342 h 226257"/>
              <a:gd name="connsiteX10" fmla="*/ 144892 w 226257"/>
              <a:gd name="connsiteY10" fmla="*/ 156205 h 226257"/>
              <a:gd name="connsiteX11" fmla="*/ 83976 w 226257"/>
              <a:gd name="connsiteY11" fmla="*/ 156205 h 226257"/>
              <a:gd name="connsiteX12" fmla="*/ 159686 w 226257"/>
              <a:gd name="connsiteY12" fmla="*/ 72664 h 226257"/>
              <a:gd name="connsiteX13" fmla="*/ 214510 w 226257"/>
              <a:gd name="connsiteY13" fmla="*/ 72664 h 226257"/>
              <a:gd name="connsiteX14" fmla="*/ 134449 w 226257"/>
              <a:gd name="connsiteY14" fmla="*/ 8267 h 226257"/>
              <a:gd name="connsiteX15" fmla="*/ 159686 w 226257"/>
              <a:gd name="connsiteY15" fmla="*/ 72664 h 226257"/>
              <a:gd name="connsiteX16" fmla="*/ 159686 w 226257"/>
              <a:gd name="connsiteY16" fmla="*/ 72664 h 226257"/>
              <a:gd name="connsiteX17" fmla="*/ 147503 w 226257"/>
              <a:gd name="connsiteY17" fmla="*/ 86587 h 226257"/>
              <a:gd name="connsiteX18" fmla="*/ 81366 w 226257"/>
              <a:gd name="connsiteY18" fmla="*/ 86587 h 226257"/>
              <a:gd name="connsiteX19" fmla="*/ 81366 w 226257"/>
              <a:gd name="connsiteY19" fmla="*/ 142281 h 226257"/>
              <a:gd name="connsiteX20" fmla="*/ 147503 w 226257"/>
              <a:gd name="connsiteY20" fmla="*/ 142281 h 226257"/>
              <a:gd name="connsiteX21" fmla="*/ 147503 w 226257"/>
              <a:gd name="connsiteY21" fmla="*/ 86587 h 226257"/>
              <a:gd name="connsiteX22" fmla="*/ 69183 w 226257"/>
              <a:gd name="connsiteY22" fmla="*/ 156205 h 226257"/>
              <a:gd name="connsiteX23" fmla="*/ 15229 w 226257"/>
              <a:gd name="connsiteY23" fmla="*/ 156205 h 226257"/>
              <a:gd name="connsiteX24" fmla="*/ 95289 w 226257"/>
              <a:gd name="connsiteY24" fmla="*/ 220601 h 226257"/>
              <a:gd name="connsiteX25" fmla="*/ 69183 w 226257"/>
              <a:gd name="connsiteY25" fmla="*/ 156205 h 226257"/>
              <a:gd name="connsiteX26" fmla="*/ 69183 w 226257"/>
              <a:gd name="connsiteY26" fmla="*/ 156205 h 226257"/>
              <a:gd name="connsiteX27" fmla="*/ 159686 w 226257"/>
              <a:gd name="connsiteY27" fmla="*/ 156205 h 226257"/>
              <a:gd name="connsiteX28" fmla="*/ 134449 w 226257"/>
              <a:gd name="connsiteY28" fmla="*/ 220601 h 226257"/>
              <a:gd name="connsiteX29" fmla="*/ 214510 w 226257"/>
              <a:gd name="connsiteY29" fmla="*/ 156205 h 226257"/>
              <a:gd name="connsiteX30" fmla="*/ 159686 w 226257"/>
              <a:gd name="connsiteY30" fmla="*/ 156205 h 226257"/>
              <a:gd name="connsiteX31" fmla="*/ 144892 w 226257"/>
              <a:gd name="connsiteY31" fmla="*/ 72664 h 226257"/>
              <a:gd name="connsiteX32" fmla="*/ 114434 w 226257"/>
              <a:gd name="connsiteY32" fmla="*/ 6527 h 226257"/>
              <a:gd name="connsiteX33" fmla="*/ 114434 w 226257"/>
              <a:gd name="connsiteY33" fmla="*/ 6527 h 226257"/>
              <a:gd name="connsiteX34" fmla="*/ 114434 w 226257"/>
              <a:gd name="connsiteY34" fmla="*/ 6527 h 226257"/>
              <a:gd name="connsiteX35" fmla="*/ 83976 w 226257"/>
              <a:gd name="connsiteY35" fmla="*/ 72664 h 226257"/>
              <a:gd name="connsiteX36" fmla="*/ 144892 w 226257"/>
              <a:gd name="connsiteY36" fmla="*/ 72664 h 226257"/>
              <a:gd name="connsiteX37" fmla="*/ 10008 w 226257"/>
              <a:gd name="connsiteY37" fmla="*/ 86587 h 226257"/>
              <a:gd name="connsiteX38" fmla="*/ 6527 w 226257"/>
              <a:gd name="connsiteY38" fmla="*/ 114434 h 226257"/>
              <a:gd name="connsiteX39" fmla="*/ 10008 w 226257"/>
              <a:gd name="connsiteY39" fmla="*/ 142281 h 226257"/>
              <a:gd name="connsiteX40" fmla="*/ 67442 w 226257"/>
              <a:gd name="connsiteY40" fmla="*/ 142281 h 226257"/>
              <a:gd name="connsiteX41" fmla="*/ 67442 w 226257"/>
              <a:gd name="connsiteY41" fmla="*/ 86587 h 226257"/>
              <a:gd name="connsiteX42" fmla="*/ 10008 w 226257"/>
              <a:gd name="connsiteY42" fmla="*/ 86587 h 226257"/>
              <a:gd name="connsiteX43" fmla="*/ 69183 w 226257"/>
              <a:gd name="connsiteY43" fmla="*/ 72664 h 226257"/>
              <a:gd name="connsiteX44" fmla="*/ 94419 w 226257"/>
              <a:gd name="connsiteY44" fmla="*/ 8267 h 226257"/>
              <a:gd name="connsiteX45" fmla="*/ 14359 w 226257"/>
              <a:gd name="connsiteY45" fmla="*/ 72664 h 226257"/>
              <a:gd name="connsiteX46" fmla="*/ 69183 w 226257"/>
              <a:gd name="connsiteY46" fmla="*/ 72664 h 226257"/>
              <a:gd name="connsiteX47" fmla="*/ 69183 w 226257"/>
              <a:gd name="connsiteY47" fmla="*/ 72664 h 22625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226257" h="226257">
                <a:moveTo>
                  <a:pt x="161426" y="86587"/>
                </a:moveTo>
                <a:lnTo>
                  <a:pt x="218861" y="86587"/>
                </a:lnTo>
                <a:cubicBezTo>
                  <a:pt x="221472" y="95289"/>
                  <a:pt x="222342" y="104862"/>
                  <a:pt x="222342" y="114434"/>
                </a:cubicBezTo>
                <a:cubicBezTo>
                  <a:pt x="222342" y="124007"/>
                  <a:pt x="221472" y="133579"/>
                  <a:pt x="218861" y="142281"/>
                </a:cubicBezTo>
                <a:lnTo>
                  <a:pt x="161426" y="142281"/>
                </a:lnTo>
                <a:cubicBezTo>
                  <a:pt x="164037" y="123136"/>
                  <a:pt x="164037" y="104862"/>
                  <a:pt x="161426" y="86587"/>
                </a:cubicBezTo>
                <a:close/>
                <a:moveTo>
                  <a:pt x="83976" y="156205"/>
                </a:moveTo>
                <a:cubicBezTo>
                  <a:pt x="88328" y="179701"/>
                  <a:pt x="98770" y="204937"/>
                  <a:pt x="114434" y="222342"/>
                </a:cubicBezTo>
                <a:cubicBezTo>
                  <a:pt x="114434" y="222342"/>
                  <a:pt x="114434" y="222342"/>
                  <a:pt x="114434" y="222342"/>
                </a:cubicBezTo>
                <a:cubicBezTo>
                  <a:pt x="114434" y="222342"/>
                  <a:pt x="114434" y="222342"/>
                  <a:pt x="114434" y="222342"/>
                </a:cubicBezTo>
                <a:cubicBezTo>
                  <a:pt x="130969" y="204937"/>
                  <a:pt x="140541" y="179701"/>
                  <a:pt x="144892" y="156205"/>
                </a:cubicBezTo>
                <a:lnTo>
                  <a:pt x="83976" y="156205"/>
                </a:lnTo>
                <a:close/>
                <a:moveTo>
                  <a:pt x="159686" y="72664"/>
                </a:moveTo>
                <a:lnTo>
                  <a:pt x="214510" y="72664"/>
                </a:lnTo>
                <a:cubicBezTo>
                  <a:pt x="200586" y="39595"/>
                  <a:pt x="170999" y="15229"/>
                  <a:pt x="134449" y="8267"/>
                </a:cubicBezTo>
                <a:cubicBezTo>
                  <a:pt x="147503" y="27412"/>
                  <a:pt x="155335" y="50038"/>
                  <a:pt x="159686" y="72664"/>
                </a:cubicBezTo>
                <a:lnTo>
                  <a:pt x="159686" y="72664"/>
                </a:lnTo>
                <a:close/>
                <a:moveTo>
                  <a:pt x="147503" y="86587"/>
                </a:moveTo>
                <a:lnTo>
                  <a:pt x="81366" y="86587"/>
                </a:lnTo>
                <a:cubicBezTo>
                  <a:pt x="78755" y="104862"/>
                  <a:pt x="78755" y="124007"/>
                  <a:pt x="81366" y="142281"/>
                </a:cubicBezTo>
                <a:lnTo>
                  <a:pt x="147503" y="142281"/>
                </a:lnTo>
                <a:cubicBezTo>
                  <a:pt x="150113" y="124007"/>
                  <a:pt x="150113" y="104862"/>
                  <a:pt x="147503" y="86587"/>
                </a:cubicBezTo>
                <a:close/>
                <a:moveTo>
                  <a:pt x="69183" y="156205"/>
                </a:moveTo>
                <a:lnTo>
                  <a:pt x="15229" y="156205"/>
                </a:lnTo>
                <a:cubicBezTo>
                  <a:pt x="29152" y="189273"/>
                  <a:pt x="58740" y="213640"/>
                  <a:pt x="95289" y="220601"/>
                </a:cubicBezTo>
                <a:cubicBezTo>
                  <a:pt x="81366" y="201456"/>
                  <a:pt x="73534" y="178831"/>
                  <a:pt x="69183" y="156205"/>
                </a:cubicBezTo>
                <a:lnTo>
                  <a:pt x="69183" y="156205"/>
                </a:lnTo>
                <a:close/>
                <a:moveTo>
                  <a:pt x="159686" y="156205"/>
                </a:moveTo>
                <a:cubicBezTo>
                  <a:pt x="155335" y="178831"/>
                  <a:pt x="147503" y="201456"/>
                  <a:pt x="134449" y="220601"/>
                </a:cubicBezTo>
                <a:cubicBezTo>
                  <a:pt x="170999" y="213640"/>
                  <a:pt x="200586" y="189273"/>
                  <a:pt x="214510" y="156205"/>
                </a:cubicBezTo>
                <a:lnTo>
                  <a:pt x="159686" y="156205"/>
                </a:lnTo>
                <a:close/>
                <a:moveTo>
                  <a:pt x="144892" y="72664"/>
                </a:moveTo>
                <a:cubicBezTo>
                  <a:pt x="140541" y="49168"/>
                  <a:pt x="130098" y="23931"/>
                  <a:pt x="114434" y="6527"/>
                </a:cubicBezTo>
                <a:cubicBezTo>
                  <a:pt x="114434" y="6527"/>
                  <a:pt x="114434" y="6527"/>
                  <a:pt x="114434" y="6527"/>
                </a:cubicBezTo>
                <a:cubicBezTo>
                  <a:pt x="114434" y="6527"/>
                  <a:pt x="114434" y="6527"/>
                  <a:pt x="114434" y="6527"/>
                </a:cubicBezTo>
                <a:cubicBezTo>
                  <a:pt x="97900" y="23931"/>
                  <a:pt x="88328" y="49168"/>
                  <a:pt x="83976" y="72664"/>
                </a:cubicBezTo>
                <a:lnTo>
                  <a:pt x="144892" y="72664"/>
                </a:lnTo>
                <a:close/>
                <a:moveTo>
                  <a:pt x="10008" y="86587"/>
                </a:moveTo>
                <a:cubicBezTo>
                  <a:pt x="7397" y="95289"/>
                  <a:pt x="6527" y="104862"/>
                  <a:pt x="6527" y="114434"/>
                </a:cubicBezTo>
                <a:cubicBezTo>
                  <a:pt x="6527" y="124007"/>
                  <a:pt x="7397" y="133579"/>
                  <a:pt x="10008" y="142281"/>
                </a:cubicBezTo>
                <a:lnTo>
                  <a:pt x="67442" y="142281"/>
                </a:lnTo>
                <a:cubicBezTo>
                  <a:pt x="65702" y="124007"/>
                  <a:pt x="64832" y="105732"/>
                  <a:pt x="67442" y="86587"/>
                </a:cubicBezTo>
                <a:lnTo>
                  <a:pt x="10008" y="86587"/>
                </a:lnTo>
                <a:close/>
                <a:moveTo>
                  <a:pt x="69183" y="72664"/>
                </a:moveTo>
                <a:cubicBezTo>
                  <a:pt x="73534" y="50038"/>
                  <a:pt x="81366" y="27412"/>
                  <a:pt x="94419" y="8267"/>
                </a:cubicBezTo>
                <a:cubicBezTo>
                  <a:pt x="57870" y="15229"/>
                  <a:pt x="28282" y="39595"/>
                  <a:pt x="14359" y="72664"/>
                </a:cubicBezTo>
                <a:lnTo>
                  <a:pt x="69183" y="72664"/>
                </a:lnTo>
                <a:lnTo>
                  <a:pt x="69183" y="72664"/>
                </a:lnTo>
                <a:close/>
              </a:path>
            </a:pathLst>
          </a:custGeom>
          <a:solidFill>
            <a:schemeClr val="accent1"/>
          </a:solidFill>
          <a:ln w="952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1984"/>
          </a:p>
        </p:txBody>
      </p:sp>
      <p:sp>
        <p:nvSpPr>
          <p:cNvPr id="9" name="Title 2">
            <a:extLst>
              <a:ext uri="{FF2B5EF4-FFF2-40B4-BE49-F238E27FC236}">
                <a16:creationId xmlns:a16="http://schemas.microsoft.com/office/drawing/2014/main" id="{8957EE8E-E699-4F59-81B0-A47C904F09C6}"/>
              </a:ext>
            </a:extLst>
          </p:cNvPr>
          <p:cNvSpPr txBox="1">
            <a:spLocks/>
          </p:cNvSpPr>
          <p:nvPr userDrawn="1"/>
        </p:nvSpPr>
        <p:spPr>
          <a:xfrm>
            <a:off x="727828" y="2887395"/>
            <a:ext cx="6728049" cy="1499736"/>
          </a:xfrm>
          <a:prstGeom prst="rect">
            <a:avLst/>
          </a:prstGeom>
        </p:spPr>
        <p:txBody>
          <a:bodyPr anchor="b"/>
          <a:lstStyle>
            <a:lvl1pPr algn="ctr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sz="6000" kern="1200" cap="all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7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0" b="0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hank you</a:t>
            </a:r>
            <a:endParaRPr kumimoji="0" lang="en-GB" sz="6000" b="0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6AE3396-E050-4CBA-9639-D79A2F986862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27149" y="4818117"/>
            <a:ext cx="4148099" cy="24923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67AD1911-4043-40E5-B8BE-F308CCB5AF2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327149" y="5256844"/>
            <a:ext cx="4148099" cy="24923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3F02C362-5584-4F4E-B0A8-EC42A44FD5D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327149" y="5709854"/>
            <a:ext cx="4148099" cy="249237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6D5749CF-18B6-4B42-AE8E-8E2FF46EE9B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7459" y="682683"/>
            <a:ext cx="2056571" cy="909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021000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lank page or text only wide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7" name="Object 2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3" name="Rechte verbindingslijn 22"/>
          <p:cNvCxnSpPr>
            <a:cxnSpLocks/>
          </p:cNvCxnSpPr>
          <p:nvPr userDrawn="1"/>
        </p:nvCxnSpPr>
        <p:spPr>
          <a:xfrm>
            <a:off x="0" y="6595533"/>
            <a:ext cx="12192000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jdelijke aanduiding voor tekst 2"/>
          <p:cNvSpPr>
            <a:spLocks noGrp="1"/>
          </p:cNvSpPr>
          <p:nvPr>
            <p:ph type="body" sz="quarter" idx="13" hasCustomPrompt="1"/>
          </p:nvPr>
        </p:nvSpPr>
        <p:spPr>
          <a:xfrm>
            <a:off x="478369" y="1412709"/>
            <a:ext cx="11233151" cy="48006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</a:t>
            </a:r>
            <a:r>
              <a:rPr lang="nl-NL" err="1"/>
              <a:t>text</a:t>
            </a:r>
            <a:endParaRPr lang="nl-NL"/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4B69662B-43A6-4903-A613-880D0A36C008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>
          <a:xfrm>
            <a:off x="1003413" y="6597353"/>
            <a:ext cx="7149988" cy="241001"/>
          </a:xfrm>
        </p:spPr>
        <p:txBody>
          <a:bodyPr/>
          <a:lstStyle/>
          <a:p>
            <a:r>
              <a:rPr lang="en-GB" noProof="0"/>
              <a:t>MACHC20-07.5 - 5 Dec 2019</a:t>
            </a:r>
          </a:p>
        </p:txBody>
      </p:sp>
      <p:sp>
        <p:nvSpPr>
          <p:cNvPr id="14" name="Rechthoek 12">
            <a:extLst>
              <a:ext uri="{FF2B5EF4-FFF2-40B4-BE49-F238E27FC236}">
                <a16:creationId xmlns:a16="http://schemas.microsoft.com/office/drawing/2014/main" id="{FC4D7076-51FD-4AD2-8DD6-26C04EB7E804}"/>
              </a:ext>
            </a:extLst>
          </p:cNvPr>
          <p:cNvSpPr/>
          <p:nvPr userDrawn="1"/>
        </p:nvSpPr>
        <p:spPr>
          <a:xfrm>
            <a:off x="0" y="438913"/>
            <a:ext cx="12192000" cy="707675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1800" noProof="0">
              <a:solidFill>
                <a:prstClr val="white"/>
              </a:solidFill>
            </a:endParaRPr>
          </a:p>
        </p:txBody>
      </p:sp>
      <p:sp>
        <p:nvSpPr>
          <p:cNvPr id="15" name="Titel 1">
            <a:extLst>
              <a:ext uri="{FF2B5EF4-FFF2-40B4-BE49-F238E27FC236}">
                <a16:creationId xmlns:a16="http://schemas.microsoft.com/office/drawing/2014/main" id="{6D4D3129-90EA-41BB-A7F7-ACDDF4E0B3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721" y="502143"/>
            <a:ext cx="9945719" cy="5744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000" b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 noProof="0"/>
              <a:t>Click to add a title</a:t>
            </a:r>
          </a:p>
        </p:txBody>
      </p:sp>
      <p:pic>
        <p:nvPicPr>
          <p:cNvPr id="16" name="Picture 764">
            <a:extLst>
              <a:ext uri="{FF2B5EF4-FFF2-40B4-BE49-F238E27FC236}">
                <a16:creationId xmlns:a16="http://schemas.microsoft.com/office/drawing/2014/main" id="{F28D9F4C-7EAE-4658-929F-9FDE184397A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92904" y="-1"/>
            <a:ext cx="1171609" cy="8787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7325768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36201FF-69EF-4381-9B87-0FF54AC1E7B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E266AF-210D-4B9E-92F6-EF999B290F31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7DCCDE98-34CA-46CF-8E70-92EB0DA675E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38200" y="1592263"/>
            <a:ext cx="10514013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91604BB-5F65-434E-9C4D-66700F8167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02F720C-C5FF-48FC-BB5D-F763C854DA8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AU"/>
              <a:t>MACHC20-07.5 - 5 Dec 2019</a:t>
            </a:r>
          </a:p>
        </p:txBody>
      </p:sp>
    </p:spTree>
    <p:extLst>
      <p:ext uri="{BB962C8B-B14F-4D97-AF65-F5344CB8AC3E}">
        <p14:creationId xmlns:p14="http://schemas.microsoft.com/office/powerpoint/2010/main" val="351243860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ext with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hoek 12"/>
          <p:cNvSpPr/>
          <p:nvPr userDrawn="1"/>
        </p:nvSpPr>
        <p:spPr>
          <a:xfrm>
            <a:off x="0" y="438913"/>
            <a:ext cx="12192000" cy="707675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1800" noProof="0">
              <a:solidFill>
                <a:prstClr val="white"/>
              </a:solidFill>
            </a:endParaRPr>
          </a:p>
        </p:txBody>
      </p:sp>
      <p:pic>
        <p:nvPicPr>
          <p:cNvPr id="13" name="Picture 764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04512" y="0"/>
            <a:ext cx="960000" cy="72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764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92904" y="-1"/>
            <a:ext cx="1171609" cy="8787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6" name="Rechte verbindingslijn 21"/>
          <p:cNvCxnSpPr/>
          <p:nvPr userDrawn="1"/>
        </p:nvCxnSpPr>
        <p:spPr>
          <a:xfrm>
            <a:off x="-712" y="6597352"/>
            <a:ext cx="12192712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426721" y="502143"/>
            <a:ext cx="9945719" cy="5744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000" b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 noProof="0"/>
              <a:t>Click to add a title</a:t>
            </a:r>
          </a:p>
        </p:txBody>
      </p:sp>
      <p:sp>
        <p:nvSpPr>
          <p:cNvPr id="19" name="Tijdelijke aanduiding voor afbeelding 3">
            <a:extLst>
              <a:ext uri="{FF2B5EF4-FFF2-40B4-BE49-F238E27FC236}">
                <a16:creationId xmlns:a16="http://schemas.microsoft.com/office/drawing/2014/main" id="{0FE12513-AE1F-4E98-AA31-C0583CE88737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864619" y="1449421"/>
            <a:ext cx="4800000" cy="4859304"/>
          </a:xfrm>
          <a:prstGeom prst="rect">
            <a:avLst/>
          </a:prstGeom>
          <a:solidFill>
            <a:srgbClr val="BBC7D0"/>
          </a:solidFill>
        </p:spPr>
        <p:txBody>
          <a:bodyPr anchor="ctr" anchorCtr="1">
            <a:noAutofit/>
          </a:bodyPr>
          <a:lstStyle>
            <a:lvl1pPr marL="0" indent="0">
              <a:buNone/>
              <a:defRPr sz="1600" baseline="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/>
              <a:t>Click icon to add picture</a:t>
            </a:r>
          </a:p>
          <a:p>
            <a:endParaRPr lang="en-GB"/>
          </a:p>
          <a:p>
            <a:r>
              <a:rPr lang="en-GB"/>
              <a:t>	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66B5488-2DE3-4A9E-8662-D69FC66A187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2391" y="1454474"/>
            <a:ext cx="5651500" cy="4859337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GB"/>
              <a:t>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156C853-0EF1-46D6-8262-499DABD1167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/>
              <a:t>MACHC20-07.5 - 5 Dec 2019</a:t>
            </a:r>
          </a:p>
        </p:txBody>
      </p:sp>
    </p:spTree>
    <p:extLst>
      <p:ext uri="{BB962C8B-B14F-4D97-AF65-F5344CB8AC3E}">
        <p14:creationId xmlns:p14="http://schemas.microsoft.com/office/powerpoint/2010/main" val="399964708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13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Image/Aqua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BA548E94-417B-4E24-9429-9E1C2FD8E1A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156" y="0"/>
            <a:ext cx="12180844" cy="6858000"/>
          </a:xfrm>
          <a:prstGeom prst="rect">
            <a:avLst/>
          </a:prstGeom>
          <a:gradFill>
            <a:gsLst>
              <a:gs pos="81416">
                <a:schemeClr val="accent1">
                  <a:alpha val="0"/>
                </a:schemeClr>
              </a:gs>
              <a:gs pos="0">
                <a:schemeClr val="accent1">
                  <a:alpha val="62000"/>
                </a:schemeClr>
              </a:gs>
              <a:gs pos="26000">
                <a:schemeClr val="accent1">
                  <a:alpha val="0"/>
                </a:schemeClr>
              </a:gs>
            </a:gsLst>
            <a:lin ang="5400000" scaled="1"/>
          </a:gradFill>
        </p:spPr>
        <p:txBody>
          <a:bodyPr/>
          <a:lstStyle>
            <a:lvl1pPr>
              <a:defRPr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50824F02-0181-44BD-9ABC-EEC74F15F8B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lIns="72000" tIns="72000" rIns="72000" bIns="72000"/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0131425" algn="l"/>
              </a:tabLst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/>
              <a:t>Click on the icon to insert picture</a:t>
            </a:r>
            <a:br>
              <a:rPr lang="en-AU"/>
            </a:br>
            <a:r>
              <a:rPr lang="en-AU"/>
              <a:t>Right click on the picture and send to back</a:t>
            </a:r>
            <a:br>
              <a:rPr lang="en-AU"/>
            </a:br>
            <a:r>
              <a:rPr lang="en-AU"/>
              <a:t>Delete if not in use</a:t>
            </a:r>
          </a:p>
          <a:p>
            <a:endParaRPr lang="en-AU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94DBA2E6-22A7-4651-9E57-13FAFDF79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7737" y="1984917"/>
            <a:ext cx="7299969" cy="4030121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lang="en-US" sz="6000" kern="1200" cap="none" baseline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80000"/>
              </a:lnSpc>
              <a:spcBef>
                <a:spcPts val="3600"/>
              </a:spcBef>
              <a:buFont typeface="Arial" panose="020B0604020202020204" pitchFamily="34" charset="0"/>
              <a:buNone/>
              <a:defRPr lang="en-US" sz="2200" kern="1200" cap="none" dirty="0" smtClean="0">
                <a:solidFill>
                  <a:schemeClr val="accent1"/>
                </a:solidFill>
                <a:latin typeface="+mn-lt"/>
                <a:ea typeface="+mn-ea"/>
                <a:cs typeface="Segoe UI Semibold" panose="020B0702040204020203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59EED4A8-E5E4-4482-A2E5-6FE7D0008F3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7459" y="682683"/>
            <a:ext cx="2056571" cy="909637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457934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89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Section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36201FF-69EF-4381-9B87-0FF54AC1E7B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E266AF-210D-4B9E-92F6-EF999B290F31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EED74637-0AAE-49B0-AF74-2D2879D4FE9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200" y="2220008"/>
            <a:ext cx="2430294" cy="430887"/>
          </a:xfrm>
          <a:solidFill>
            <a:schemeClr val="bg1"/>
          </a:solidFill>
          <a:effectLst>
            <a:outerShdw dist="12700" dir="5400000" algn="ctr" rotWithShape="0">
              <a:schemeClr val="bg2"/>
            </a:outerShdw>
          </a:effectLst>
        </p:spPr>
        <p:txBody>
          <a:bodyPr anchor="b">
            <a:noAutofit/>
          </a:bodyPr>
          <a:lstStyle>
            <a:lvl1pPr>
              <a:defRPr sz="2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AU"/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D6ACF8A1-EAE2-49E1-BF09-C006EE66966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8200" y="2713708"/>
            <a:ext cx="2430294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AU"/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837A987B-FCED-4C24-9EE5-BC0CB41C79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32773" y="2220008"/>
            <a:ext cx="2430294" cy="430887"/>
          </a:xfrm>
          <a:solidFill>
            <a:schemeClr val="bg1"/>
          </a:solidFill>
          <a:effectLst>
            <a:outerShdw dist="12700" dir="5400000" algn="ctr" rotWithShape="0">
              <a:schemeClr val="bg2"/>
            </a:outerShdw>
          </a:effectLst>
        </p:spPr>
        <p:txBody>
          <a:bodyPr anchor="b">
            <a:noAutofit/>
          </a:bodyPr>
          <a:lstStyle>
            <a:lvl1pPr>
              <a:defRPr sz="28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AU"/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93E06C38-04CF-46C3-A522-3F6B8113E3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32773" y="2713708"/>
            <a:ext cx="2430294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AU"/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27F8CD91-2C94-49C5-99BC-98546FB4153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27346" y="2220008"/>
            <a:ext cx="2430294" cy="430887"/>
          </a:xfrm>
          <a:solidFill>
            <a:schemeClr val="bg1"/>
          </a:solidFill>
          <a:effectLst>
            <a:outerShdw dist="12700" dir="5400000" algn="ctr" rotWithShape="0">
              <a:schemeClr val="bg2"/>
            </a:outerShdw>
          </a:effectLst>
        </p:spPr>
        <p:txBody>
          <a:bodyPr anchor="b">
            <a:noAutofit/>
          </a:bodyPr>
          <a:lstStyle>
            <a:lvl1pPr>
              <a:defRPr sz="2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AU"/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93EAB1A6-0CB4-408B-80A1-CF3DF377D6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27346" y="2713708"/>
            <a:ext cx="2430294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AU"/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DB8725C3-A86E-4F44-B050-FA2EBF56D4F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21919" y="2220008"/>
            <a:ext cx="2430294" cy="430887"/>
          </a:xfrm>
          <a:solidFill>
            <a:schemeClr val="bg1"/>
          </a:solidFill>
          <a:effectLst>
            <a:outerShdw dist="12700" dir="5400000" algn="ctr" rotWithShape="0">
              <a:schemeClr val="bg2"/>
            </a:outerShdw>
          </a:effectLst>
        </p:spPr>
        <p:txBody>
          <a:bodyPr anchor="b">
            <a:noAutofit/>
          </a:bodyPr>
          <a:lstStyle>
            <a:lvl1pPr>
              <a:defRPr sz="28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AU"/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847474C7-1567-455E-8F0B-1FD540C0CBD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921919" y="2713708"/>
            <a:ext cx="2430294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AU"/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8F451E7-AAE5-4570-BEED-C11F1865936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8200" y="3887759"/>
            <a:ext cx="2430294" cy="430887"/>
          </a:xfrm>
          <a:solidFill>
            <a:schemeClr val="bg1"/>
          </a:solidFill>
          <a:effectLst>
            <a:outerShdw dist="12700" dir="5400000" algn="ctr" rotWithShape="0">
              <a:schemeClr val="bg2"/>
            </a:outerShdw>
          </a:effectLst>
        </p:spPr>
        <p:txBody>
          <a:bodyPr anchor="b">
            <a:noAutofit/>
          </a:bodyPr>
          <a:lstStyle>
            <a:lvl1pPr>
              <a:defRPr sz="28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AU"/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1501EAB7-BD55-47EC-BD75-D1958264D51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8200" y="4381459"/>
            <a:ext cx="2430294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AU"/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5BA28097-D908-4BD0-AE92-3CBF40055B5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32773" y="3887759"/>
            <a:ext cx="2430294" cy="430887"/>
          </a:xfrm>
          <a:solidFill>
            <a:schemeClr val="bg1"/>
          </a:solidFill>
          <a:effectLst>
            <a:outerShdw dist="12700" dir="5400000" algn="ctr" rotWithShape="0">
              <a:schemeClr val="bg2"/>
            </a:outerShdw>
          </a:effectLst>
        </p:spPr>
        <p:txBody>
          <a:bodyPr anchor="b">
            <a:noAutofit/>
          </a:bodyPr>
          <a:lstStyle>
            <a:lvl1pPr>
              <a:defRPr sz="2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AU"/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6912D03C-A7C7-49B9-A13D-D87256AA24E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532773" y="4381459"/>
            <a:ext cx="2430294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AU"/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F831329C-A175-45E6-BC38-9539D15016A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27346" y="3887759"/>
            <a:ext cx="2430294" cy="430887"/>
          </a:xfrm>
          <a:solidFill>
            <a:schemeClr val="bg1"/>
          </a:solidFill>
          <a:effectLst>
            <a:outerShdw dist="12700" dir="5400000" algn="ctr" rotWithShape="0">
              <a:schemeClr val="bg2"/>
            </a:outerShdw>
          </a:effectLst>
        </p:spPr>
        <p:txBody>
          <a:bodyPr anchor="b">
            <a:noAutofit/>
          </a:bodyPr>
          <a:lstStyle>
            <a:lvl1pPr>
              <a:defRPr sz="28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AU"/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866C51A-B898-4533-AE2F-920E3851359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27346" y="4381459"/>
            <a:ext cx="2430294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AU"/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38A23A8D-B66A-480D-9D2D-3E7D2789CCB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921919" y="3887759"/>
            <a:ext cx="2430294" cy="430887"/>
          </a:xfrm>
          <a:solidFill>
            <a:schemeClr val="bg1"/>
          </a:solidFill>
          <a:effectLst>
            <a:outerShdw dist="12700" dir="5400000" algn="ctr" rotWithShape="0">
              <a:schemeClr val="bg2"/>
            </a:outerShdw>
          </a:effectLst>
        </p:spPr>
        <p:txBody>
          <a:bodyPr anchor="b">
            <a:noAutofit/>
          </a:bodyPr>
          <a:lstStyle>
            <a:lvl1pPr>
              <a:defRPr sz="2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AU"/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CF27AB35-CF4C-40EA-BD72-5AE1F375034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921919" y="4381459"/>
            <a:ext cx="2430294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A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D3CDA1B-3F14-4F59-ADBF-230AD3DAA0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AFB0DF-C129-4CDB-A806-7DDC762E8B7D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AU"/>
              <a:t>MACHC20-07.5 - 5 Dec 2019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EB72B18-B28C-4321-912E-912108500E3A}"/>
              </a:ext>
            </a:extLst>
          </p:cNvPr>
          <p:cNvSpPr txBox="1"/>
          <p:nvPr userDrawn="1"/>
        </p:nvSpPr>
        <p:spPr>
          <a:xfrm>
            <a:off x="-2348038" y="-4722"/>
            <a:ext cx="2238212" cy="233140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spcBef>
                <a:spcPts val="300"/>
              </a:spcBef>
            </a:pPr>
            <a:r>
              <a:rPr lang="en-AU" sz="1200" b="1"/>
              <a:t>Insert a new slide layout</a:t>
            </a:r>
          </a:p>
          <a:p>
            <a:pPr>
              <a:spcBef>
                <a:spcPts val="300"/>
              </a:spcBef>
            </a:pPr>
            <a:r>
              <a:rPr lang="en-AU" sz="1200"/>
              <a:t>When inserting a new slide layout always go</a:t>
            </a:r>
            <a:r>
              <a:rPr lang="en-AU" sz="1200" baseline="0"/>
              <a:t> to the Insert tab and choose New slide, select a layout from here.</a:t>
            </a:r>
          </a:p>
          <a:p>
            <a:pPr>
              <a:spcBef>
                <a:spcPts val="300"/>
              </a:spcBef>
            </a:pPr>
            <a:endParaRPr lang="en-AU" sz="1200" baseline="0"/>
          </a:p>
          <a:p>
            <a:pPr>
              <a:spcBef>
                <a:spcPts val="300"/>
              </a:spcBef>
            </a:pPr>
            <a:r>
              <a:rPr lang="en-AU" sz="1200" b="1"/>
              <a:t>Please</a:t>
            </a:r>
            <a:r>
              <a:rPr lang="en-AU" sz="1200" b="1" baseline="0"/>
              <a:t> note: </a:t>
            </a:r>
            <a:r>
              <a:rPr lang="en-AU" sz="1200" baseline="0"/>
              <a:t>Right-clicking on a slide to change the slide layout will cause issues if you choose to apply a layout with footers on a layout that doesn’t contain footers (divider slides for instance).</a:t>
            </a:r>
            <a:endParaRPr lang="en-AU" sz="1200"/>
          </a:p>
        </p:txBody>
      </p:sp>
    </p:spTree>
    <p:extLst>
      <p:ext uri="{BB962C8B-B14F-4D97-AF65-F5344CB8AC3E}">
        <p14:creationId xmlns:p14="http://schemas.microsoft.com/office/powerpoint/2010/main" val="29455863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36201FF-69EF-4381-9B87-0FF54AC1E7B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38200" y="6254234"/>
            <a:ext cx="187552" cy="184666"/>
          </a:xfrm>
        </p:spPr>
        <p:txBody>
          <a:bodyPr wrap="square">
            <a:spAutoFit/>
          </a:bodyPr>
          <a:lstStyle/>
          <a:p>
            <a:fld id="{EBE266AF-210D-4B9E-92F6-EF999B290F31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7C676387-E74B-4A6B-9F23-E18F9F2A4E4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200" y="3211958"/>
            <a:ext cx="2343150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AU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8A0093E-F6D7-44C2-A7AD-DC7DB843277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60763" y="3211958"/>
            <a:ext cx="2343150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AU"/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2A1C0A73-4926-40BF-8516-99722388DED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283326" y="3211958"/>
            <a:ext cx="2343150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AU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A4C04EA-11A6-4E68-AAEF-17B34B79D2D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005889" y="3211958"/>
            <a:ext cx="2343150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AU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57AEC50-1C6A-406E-8B80-944C1B38CBA1}"/>
              </a:ext>
            </a:extLst>
          </p:cNvPr>
          <p:cNvSpPr txBox="1"/>
          <p:nvPr userDrawn="1"/>
        </p:nvSpPr>
        <p:spPr>
          <a:xfrm>
            <a:off x="-2540000" y="733476"/>
            <a:ext cx="2436794" cy="37779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spcBef>
                <a:spcPts val="300"/>
              </a:spcBef>
            </a:pPr>
            <a:r>
              <a:rPr lang="en-AU" sz="1200" b="1"/>
              <a:t>Inserting Icons</a:t>
            </a:r>
          </a:p>
          <a:p>
            <a:pPr>
              <a:spcBef>
                <a:spcPts val="300"/>
              </a:spcBef>
            </a:pPr>
            <a:r>
              <a:rPr lang="en-AU" sz="1200"/>
              <a:t>The placeholders inside the squares are designed to house icons. </a:t>
            </a:r>
          </a:p>
          <a:p>
            <a:pPr marL="228600" indent="-228600">
              <a:spcBef>
                <a:spcPts val="300"/>
              </a:spcBef>
              <a:buFont typeface="+mj-lt"/>
              <a:buAutoNum type="arabicPeriod"/>
            </a:pPr>
            <a:r>
              <a:rPr lang="en-AU" sz="1200"/>
              <a:t>copy (</a:t>
            </a:r>
            <a:r>
              <a:rPr lang="en-AU" sz="1200" err="1"/>
              <a:t>crtl</a:t>
            </a:r>
            <a:r>
              <a:rPr lang="en-AU" sz="1200"/>
              <a:t> + C) an icon from the assets section of this document </a:t>
            </a:r>
          </a:p>
          <a:p>
            <a:pPr marL="228600" indent="-228600">
              <a:spcBef>
                <a:spcPts val="300"/>
              </a:spcBef>
              <a:buFont typeface="+mj-lt"/>
              <a:buAutoNum type="arabicPeriod"/>
            </a:pPr>
            <a:r>
              <a:rPr lang="en-AU" sz="1200"/>
              <a:t>click on the inner bounding box (</a:t>
            </a:r>
            <a:r>
              <a:rPr lang="en-AU" sz="1200" err="1"/>
              <a:t>ie</a:t>
            </a:r>
            <a:r>
              <a:rPr lang="en-AU" sz="1200"/>
              <a:t> not the coloured box) and paste (ctrl + V) it in. The icon will automatically resize to the size of the placeholder. Note: do not make them too large as reduction in quality will occur with the icons.</a:t>
            </a:r>
          </a:p>
          <a:p>
            <a:pPr marL="228600" indent="-228600">
              <a:spcBef>
                <a:spcPts val="300"/>
              </a:spcBef>
              <a:buFont typeface="+mj-lt"/>
              <a:buAutoNum type="arabicPeriod"/>
            </a:pPr>
            <a:endParaRPr lang="en-AU" sz="1200"/>
          </a:p>
          <a:p>
            <a:pPr>
              <a:spcBef>
                <a:spcPts val="300"/>
              </a:spcBef>
            </a:pPr>
            <a:r>
              <a:rPr lang="en-AU" sz="1200"/>
              <a:t>Icon box colours can be changed by selecting them and using the ‘shape fill’ function.</a:t>
            </a:r>
          </a:p>
          <a:p>
            <a:pPr>
              <a:spcBef>
                <a:spcPts val="300"/>
              </a:spcBef>
            </a:pPr>
            <a:endParaRPr lang="en-AU" sz="1200"/>
          </a:p>
          <a:p>
            <a:pPr>
              <a:spcBef>
                <a:spcPts val="300"/>
              </a:spcBef>
            </a:pPr>
            <a:r>
              <a:rPr lang="en-AU" sz="1200"/>
              <a:t>Please only use icons on coloured box backgrounds provided.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EFE8664C-A673-4984-BBC1-64601266FB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9A22C97-22E1-42BA-A424-F51246DEE299}"/>
              </a:ext>
            </a:extLst>
          </p:cNvPr>
          <p:cNvSpPr>
            <a:spLocks noGrp="1"/>
          </p:cNvSpPr>
          <p:nvPr>
            <p:ph type="ftr" sz="quarter" idx="27"/>
          </p:nvPr>
        </p:nvSpPr>
        <p:spPr/>
        <p:txBody>
          <a:bodyPr/>
          <a:lstStyle/>
          <a:p>
            <a:r>
              <a:rPr lang="en-AU"/>
              <a:t>MACHC20-07.5 - 5 Dec 2019</a:t>
            </a:r>
          </a:p>
        </p:txBody>
      </p:sp>
      <p:sp>
        <p:nvSpPr>
          <p:cNvPr id="23" name="Text Placeholder 24">
            <a:extLst>
              <a:ext uri="{FF2B5EF4-FFF2-40B4-BE49-F238E27FC236}">
                <a16:creationId xmlns:a16="http://schemas.microsoft.com/office/drawing/2014/main" id="{FA920DB6-09BE-4B8A-9EC3-BAB1E6FA0ED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8200" y="2103883"/>
            <a:ext cx="950913" cy="86836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24">
            <a:extLst>
              <a:ext uri="{FF2B5EF4-FFF2-40B4-BE49-F238E27FC236}">
                <a16:creationId xmlns:a16="http://schemas.microsoft.com/office/drawing/2014/main" id="{8EB4626E-551B-4834-BDE4-18713A05C93A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560763" y="2103883"/>
            <a:ext cx="950913" cy="868362"/>
          </a:xfrm>
          <a:solidFill>
            <a:schemeClr val="accent3"/>
          </a:solidFill>
        </p:spPr>
        <p:txBody>
          <a:bodyPr/>
          <a:lstStyle>
            <a:lvl1pPr>
              <a:defRPr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CEC387B2-2CA8-4A34-8B73-38C98943052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283326" y="2103883"/>
            <a:ext cx="950913" cy="86836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24">
            <a:extLst>
              <a:ext uri="{FF2B5EF4-FFF2-40B4-BE49-F238E27FC236}">
                <a16:creationId xmlns:a16="http://schemas.microsoft.com/office/drawing/2014/main" id="{D414A865-1609-402D-9880-4C5BEF56C9C9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005889" y="2103883"/>
            <a:ext cx="950913" cy="868362"/>
          </a:xfrm>
          <a:solidFill>
            <a:schemeClr val="accent3"/>
          </a:solidFill>
        </p:spPr>
        <p:txBody>
          <a:bodyPr/>
          <a:lstStyle>
            <a:lvl1pPr>
              <a:defRPr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Content Placeholder 3">
            <a:extLst>
              <a:ext uri="{FF2B5EF4-FFF2-40B4-BE49-F238E27FC236}">
                <a16:creationId xmlns:a16="http://schemas.microsoft.com/office/drawing/2014/main" id="{0A401C79-4AC8-40A8-A407-EE3AF40DF52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1025656" y="2250064"/>
            <a:ext cx="576000" cy="576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solidFill>
                  <a:sysClr val="windowText" lastClr="000000">
                    <a:alpha val="0"/>
                  </a:sysClr>
                </a:solidFill>
              </a:defRPr>
            </a:lvl1pPr>
          </a:lstStyle>
          <a:p>
            <a:pPr lvl="0"/>
            <a:endParaRPr lang="en-AU"/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0A401C79-4AC8-40A8-A407-EE3AF40DF522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748219" y="2250064"/>
            <a:ext cx="576000" cy="576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solidFill>
                  <a:sysClr val="windowText" lastClr="000000">
                    <a:alpha val="0"/>
                  </a:sysClr>
                </a:solidFill>
              </a:defRPr>
            </a:lvl1pPr>
          </a:lstStyle>
          <a:p>
            <a:pPr lvl="0"/>
            <a:endParaRPr lang="en-AU"/>
          </a:p>
        </p:txBody>
      </p:sp>
      <p:sp>
        <p:nvSpPr>
          <p:cNvPr id="37" name="Content Placeholder 3">
            <a:extLst>
              <a:ext uri="{FF2B5EF4-FFF2-40B4-BE49-F238E27FC236}">
                <a16:creationId xmlns:a16="http://schemas.microsoft.com/office/drawing/2014/main" id="{0A401C79-4AC8-40A8-A407-EE3AF40DF522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6470782" y="2250064"/>
            <a:ext cx="576000" cy="576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solidFill>
                  <a:sysClr val="windowText" lastClr="000000">
                    <a:alpha val="0"/>
                  </a:sysClr>
                </a:solidFill>
              </a:defRPr>
            </a:lvl1pPr>
          </a:lstStyle>
          <a:p>
            <a:pPr lvl="0"/>
            <a:endParaRPr lang="en-AU"/>
          </a:p>
        </p:txBody>
      </p:sp>
      <p:sp>
        <p:nvSpPr>
          <p:cNvPr id="38" name="Content Placeholder 3">
            <a:extLst>
              <a:ext uri="{FF2B5EF4-FFF2-40B4-BE49-F238E27FC236}">
                <a16:creationId xmlns:a16="http://schemas.microsoft.com/office/drawing/2014/main" id="{0A401C79-4AC8-40A8-A407-EE3AF40DF522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9193345" y="2250064"/>
            <a:ext cx="576000" cy="576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solidFill>
                  <a:sysClr val="windowText" lastClr="000000">
                    <a:alpha val="0"/>
                  </a:sysClr>
                </a:solidFill>
              </a:defRPr>
            </a:lvl1pPr>
          </a:lstStyle>
          <a:p>
            <a:pPr lvl="0"/>
            <a:endParaRPr lang="en-AU"/>
          </a:p>
        </p:txBody>
      </p:sp>
      <p:sp>
        <p:nvSpPr>
          <p:cNvPr id="19" name="Text Placeholder 6">
            <a:extLst>
              <a:ext uri="{FF2B5EF4-FFF2-40B4-BE49-F238E27FC236}">
                <a16:creationId xmlns:a16="http://schemas.microsoft.com/office/drawing/2014/main" id="{3614B9BE-8733-471F-8C4E-9663691E1418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838200" y="5174034"/>
            <a:ext cx="2343150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AU"/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4BAF3D61-248E-4B3F-BE40-75930A4BE480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3560763" y="5174034"/>
            <a:ext cx="2343150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AU"/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744B8B0A-2692-43A2-A726-D04E4501298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6283326" y="5174034"/>
            <a:ext cx="2343150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AU"/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2060C836-1FDF-4368-B54C-F6C761A20F4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9005889" y="5174034"/>
            <a:ext cx="2343150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Section heading</a:t>
            </a:r>
            <a:endParaRPr lang="en-AU"/>
          </a:p>
        </p:txBody>
      </p:sp>
      <p:sp>
        <p:nvSpPr>
          <p:cNvPr id="26" name="Text Placeholder 24">
            <a:extLst>
              <a:ext uri="{FF2B5EF4-FFF2-40B4-BE49-F238E27FC236}">
                <a16:creationId xmlns:a16="http://schemas.microsoft.com/office/drawing/2014/main" id="{110F6BB8-305D-47FB-AA1D-5A32A02B842A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38200" y="4065959"/>
            <a:ext cx="950913" cy="86836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24">
            <a:extLst>
              <a:ext uri="{FF2B5EF4-FFF2-40B4-BE49-F238E27FC236}">
                <a16:creationId xmlns:a16="http://schemas.microsoft.com/office/drawing/2014/main" id="{0F6A32F9-C4EB-430E-A5E4-A26BA4BC7BE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560763" y="4065959"/>
            <a:ext cx="950913" cy="868362"/>
          </a:xfrm>
          <a:solidFill>
            <a:schemeClr val="accent3"/>
          </a:solidFill>
        </p:spPr>
        <p:txBody>
          <a:bodyPr/>
          <a:lstStyle>
            <a:lvl1pPr>
              <a:defRPr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4">
            <a:extLst>
              <a:ext uri="{FF2B5EF4-FFF2-40B4-BE49-F238E27FC236}">
                <a16:creationId xmlns:a16="http://schemas.microsoft.com/office/drawing/2014/main" id="{185E5EF8-F4C4-4442-A4A8-AC4978D578AD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6283326" y="4065959"/>
            <a:ext cx="950913" cy="86836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24">
            <a:extLst>
              <a:ext uri="{FF2B5EF4-FFF2-40B4-BE49-F238E27FC236}">
                <a16:creationId xmlns:a16="http://schemas.microsoft.com/office/drawing/2014/main" id="{A475EC40-DB36-474B-8FDA-0F1728DEE6FE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005889" y="4065959"/>
            <a:ext cx="950913" cy="868362"/>
          </a:xfrm>
          <a:solidFill>
            <a:schemeClr val="accent3"/>
          </a:solidFill>
        </p:spPr>
        <p:txBody>
          <a:bodyPr/>
          <a:lstStyle>
            <a:lvl1pPr>
              <a:defRPr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2515DC17-F90A-49C1-A243-8AE56B341C16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1025656" y="4212140"/>
            <a:ext cx="576000" cy="576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solidFill>
                  <a:sysClr val="windowText" lastClr="000000">
                    <a:alpha val="0"/>
                  </a:sysClr>
                </a:solidFill>
              </a:defRPr>
            </a:lvl1pPr>
          </a:lstStyle>
          <a:p>
            <a:pPr lvl="0"/>
            <a:endParaRPr lang="en-AU"/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04CA37BF-C23A-4021-8492-C63D69FA889A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3748219" y="4212140"/>
            <a:ext cx="576000" cy="576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solidFill>
                  <a:sysClr val="windowText" lastClr="000000">
                    <a:alpha val="0"/>
                  </a:sysClr>
                </a:solidFill>
              </a:defRPr>
            </a:lvl1pPr>
          </a:lstStyle>
          <a:p>
            <a:pPr lvl="0"/>
            <a:endParaRPr lang="en-AU"/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F004EB1B-171B-4118-AA22-8BF625272093}"/>
              </a:ext>
            </a:extLst>
          </p:cNvPr>
          <p:cNvSpPr>
            <a:spLocks noGrp="1"/>
          </p:cNvSpPr>
          <p:nvPr>
            <p:ph sz="quarter" idx="41"/>
          </p:nvPr>
        </p:nvSpPr>
        <p:spPr>
          <a:xfrm>
            <a:off x="6470782" y="4212140"/>
            <a:ext cx="576000" cy="576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solidFill>
                  <a:sysClr val="windowText" lastClr="000000">
                    <a:alpha val="0"/>
                  </a:sysClr>
                </a:solidFill>
              </a:defRPr>
            </a:lvl1pPr>
          </a:lstStyle>
          <a:p>
            <a:pPr lvl="0"/>
            <a:endParaRPr lang="en-AU"/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558924FE-7DFE-4942-8ED0-DC2C196503E8}"/>
              </a:ext>
            </a:extLst>
          </p:cNvPr>
          <p:cNvSpPr>
            <a:spLocks noGrp="1"/>
          </p:cNvSpPr>
          <p:nvPr>
            <p:ph sz="quarter" idx="42"/>
          </p:nvPr>
        </p:nvSpPr>
        <p:spPr>
          <a:xfrm>
            <a:off x="9193345" y="4212140"/>
            <a:ext cx="576000" cy="576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solidFill>
                  <a:sysClr val="windowText" lastClr="000000">
                    <a:alpha val="0"/>
                  </a:sysClr>
                </a:solidFill>
              </a:defRPr>
            </a:lvl1pPr>
          </a:lstStyle>
          <a:p>
            <a:pPr lvl="0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54977633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36201FF-69EF-4381-9B87-0FF54AC1E7B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E266AF-210D-4B9E-92F6-EF999B290F31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7DCCDE98-34CA-46CF-8E70-92EB0DA675E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38200" y="1592263"/>
            <a:ext cx="10514013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91604BB-5F65-434E-9C4D-66700F8167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02F720C-C5FF-48FC-BB5D-F763C854DA8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AU"/>
              <a:t>MACHC20-07.5 - 5 Dec 2019</a:t>
            </a:r>
          </a:p>
        </p:txBody>
      </p:sp>
    </p:spTree>
    <p:extLst>
      <p:ext uri="{BB962C8B-B14F-4D97-AF65-F5344CB8AC3E}">
        <p14:creationId xmlns:p14="http://schemas.microsoft.com/office/powerpoint/2010/main" val="17265624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36201FF-69EF-4381-9B87-0FF54AC1E7B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E266AF-210D-4B9E-92F6-EF999B290F31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876725-7356-4E74-ADF8-435B2CA5825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39788" y="1592263"/>
            <a:ext cx="50546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7B60D649-EA31-412B-91B8-1782844DF1F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02375" y="1592263"/>
            <a:ext cx="5054600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613F8A8-BA80-4AE2-93C4-CD5F4AB3DB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7859E9A-814A-41F8-8EB7-5D427B6DE21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AU"/>
              <a:t>MACHC20-07.5 - 5 Dec 2019</a:t>
            </a:r>
          </a:p>
        </p:txBody>
      </p:sp>
    </p:spTree>
    <p:extLst>
      <p:ext uri="{BB962C8B-B14F-4D97-AF65-F5344CB8AC3E}">
        <p14:creationId xmlns:p14="http://schemas.microsoft.com/office/powerpoint/2010/main" val="361476070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713">
          <p15:clr>
            <a:srgbClr val="FBAE40"/>
          </p15:clr>
        </p15:guide>
        <p15:guide id="2" pos="397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36201FF-69EF-4381-9B87-0FF54AC1E7B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E266AF-210D-4B9E-92F6-EF999B290F31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0C9A66A-3256-4782-9D3B-D5F45373044D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38200" y="1592263"/>
            <a:ext cx="3227388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9B672B3C-76FC-41F4-BEBF-F0FCAAEE292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481512" y="1592263"/>
            <a:ext cx="3227388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5" name="Content Placeholder 3">
            <a:extLst>
              <a:ext uri="{FF2B5EF4-FFF2-40B4-BE49-F238E27FC236}">
                <a16:creationId xmlns:a16="http://schemas.microsoft.com/office/drawing/2014/main" id="{7EAB30B8-8437-496E-99E0-DCDD5386353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124825" y="1592263"/>
            <a:ext cx="3227388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30C6054C-84D6-4548-89DF-3006105B02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A738829-6E26-44E0-9A26-601316883FD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AU"/>
              <a:t>MACHC20-07.5 - 5 Dec 2019</a:t>
            </a:r>
          </a:p>
        </p:txBody>
      </p:sp>
    </p:spTree>
    <p:extLst>
      <p:ext uri="{BB962C8B-B14F-4D97-AF65-F5344CB8AC3E}">
        <p14:creationId xmlns:p14="http://schemas.microsoft.com/office/powerpoint/2010/main" val="23753648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61">
          <p15:clr>
            <a:srgbClr val="FBAE40"/>
          </p15:clr>
        </p15:guide>
        <p15:guide id="2" pos="2811">
          <p15:clr>
            <a:srgbClr val="FBAE40"/>
          </p15:clr>
        </p15:guide>
        <p15:guide id="3" pos="4858">
          <p15:clr>
            <a:srgbClr val="FBAE40"/>
          </p15:clr>
        </p15:guide>
        <p15:guide id="4" pos="5115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Blue pull out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36201FF-69EF-4381-9B87-0FF54AC1E7B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E266AF-210D-4B9E-92F6-EF999B290F31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3CEE5CB9-2BF1-456B-8C6E-B61DA3E9139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38200" y="1590551"/>
            <a:ext cx="3227388" cy="44244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077C79A4-6A99-404B-B6F6-DFDEB3A4B91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481512" y="1590551"/>
            <a:ext cx="3227388" cy="44244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4E5785A-7B61-4C59-8E46-2BA9153A6F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20063" y="1592263"/>
            <a:ext cx="3225800" cy="4422775"/>
          </a:xfrm>
          <a:prstGeom prst="rect">
            <a:avLst/>
          </a:prstGeom>
          <a:solidFill>
            <a:schemeClr val="accent1"/>
          </a:solidFill>
        </p:spPr>
        <p:txBody>
          <a:bodyPr lIns="180000" tIns="180000" rIns="180000" bIns="180000" anchor="ctr">
            <a:noAutofit/>
          </a:bodyPr>
          <a:lstStyle>
            <a:lvl1pPr>
              <a:lnSpc>
                <a:spcPct val="90000"/>
              </a:lnSpc>
              <a:spcBef>
                <a:spcPts val="600"/>
              </a:spcBef>
              <a:defRPr sz="3200" cap="none" baseline="0">
                <a:solidFill>
                  <a:schemeClr val="accent4"/>
                </a:solidFill>
                <a:latin typeface="+mj-lt"/>
              </a:defRPr>
            </a:lvl1pPr>
          </a:lstStyle>
          <a:p>
            <a:pPr lvl="0"/>
            <a:r>
              <a:rPr lang="en-US"/>
              <a:t>Pull out quote, statement or numbers</a:t>
            </a:r>
            <a:endParaRPr lang="en-A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151B708-6145-4CDE-8FE1-13D3CE2047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28AA330-33C8-4550-9F91-792F90F5322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AU"/>
              <a:t>MACHC20-07.5 - 5 Dec 2019</a:t>
            </a:r>
          </a:p>
        </p:txBody>
      </p:sp>
    </p:spTree>
    <p:extLst>
      <p:ext uri="{BB962C8B-B14F-4D97-AF65-F5344CB8AC3E}">
        <p14:creationId xmlns:p14="http://schemas.microsoft.com/office/powerpoint/2010/main" val="306760964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61">
          <p15:clr>
            <a:srgbClr val="FBAE40"/>
          </p15:clr>
        </p15:guide>
        <p15:guide id="2" pos="2811">
          <p15:clr>
            <a:srgbClr val="FBAE40"/>
          </p15:clr>
        </p15:guide>
        <p15:guide id="3" pos="4858">
          <p15:clr>
            <a:srgbClr val="FBAE40"/>
          </p15:clr>
        </p15:guide>
        <p15:guide id="4" pos="511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 - Aqua pull out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36201FF-69EF-4381-9B87-0FF54AC1E7B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E266AF-210D-4B9E-92F6-EF999B290F31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3CEE5CB9-2BF1-456B-8C6E-B61DA3E9139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38200" y="1590551"/>
            <a:ext cx="3227388" cy="44244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077C79A4-6A99-404B-B6F6-DFDEB3A4B91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481512" y="1590551"/>
            <a:ext cx="3227388" cy="44244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4E5785A-7B61-4C59-8E46-2BA9153A6F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20063" y="1592263"/>
            <a:ext cx="3225800" cy="4422775"/>
          </a:xfrm>
          <a:prstGeom prst="rect">
            <a:avLst/>
          </a:prstGeom>
          <a:solidFill>
            <a:schemeClr val="accent3"/>
          </a:solidFill>
        </p:spPr>
        <p:txBody>
          <a:bodyPr lIns="180000" tIns="180000" rIns="180000" bIns="180000" anchor="ctr">
            <a:noAutofit/>
          </a:bodyPr>
          <a:lstStyle>
            <a:lvl1pPr>
              <a:lnSpc>
                <a:spcPct val="90000"/>
              </a:lnSpc>
              <a:spcBef>
                <a:spcPts val="600"/>
              </a:spcBef>
              <a:defRPr sz="3200" cap="none" baseline="0">
                <a:solidFill>
                  <a:schemeClr val="bg1"/>
                </a:solidFill>
                <a:latin typeface="+mj-lt"/>
              </a:defRPr>
            </a:lvl1pPr>
          </a:lstStyle>
          <a:p>
            <a:pPr lvl="0"/>
            <a:r>
              <a:rPr lang="en-US"/>
              <a:t>Pull out quote, statement or numbers</a:t>
            </a:r>
            <a:endParaRPr lang="en-A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062BBB7-F3A5-4C7D-8A85-ECF93CF71F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975B098-4901-4142-B93A-E3C990A8AAE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AU"/>
              <a:t>MACHC20-07.5 - 5 Dec 2019</a:t>
            </a:r>
          </a:p>
        </p:txBody>
      </p:sp>
    </p:spTree>
    <p:extLst>
      <p:ext uri="{BB962C8B-B14F-4D97-AF65-F5344CB8AC3E}">
        <p14:creationId xmlns:p14="http://schemas.microsoft.com/office/powerpoint/2010/main" val="97756786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61">
          <p15:clr>
            <a:srgbClr val="FBAE40"/>
          </p15:clr>
        </p15:guide>
        <p15:guide id="2" pos="2811">
          <p15:clr>
            <a:srgbClr val="FBAE40"/>
          </p15:clr>
        </p15:guide>
        <p15:guide id="3" pos="4858">
          <p15:clr>
            <a:srgbClr val="FBAE40"/>
          </p15:clr>
        </p15:guide>
        <p15:guide id="4" pos="511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s - Aqua pull out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36201FF-69EF-4381-9B87-0FF54AC1E7B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E266AF-210D-4B9E-92F6-EF999B290F31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3CEE5CB9-2BF1-456B-8C6E-B61DA3E9139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38200" y="1590551"/>
            <a:ext cx="3227388" cy="44244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077C79A4-6A99-404B-B6F6-DFDEB3A4B91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481512" y="1590551"/>
            <a:ext cx="3227388" cy="44244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4E5785A-7B61-4C59-8E46-2BA9153A6F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20063" y="1592263"/>
            <a:ext cx="3225800" cy="4422775"/>
          </a:xfrm>
          <a:prstGeom prst="rect">
            <a:avLst/>
          </a:prstGeom>
          <a:solidFill>
            <a:schemeClr val="accent4"/>
          </a:solidFill>
        </p:spPr>
        <p:txBody>
          <a:bodyPr lIns="180000" tIns="180000" rIns="180000" bIns="180000" anchor="ctr">
            <a:noAutofit/>
          </a:bodyPr>
          <a:lstStyle>
            <a:lvl1pPr>
              <a:lnSpc>
                <a:spcPct val="90000"/>
              </a:lnSpc>
              <a:spcBef>
                <a:spcPts val="600"/>
              </a:spcBef>
              <a:defRPr sz="3200" cap="none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Pull out quote, statement or numbers</a:t>
            </a:r>
            <a:endParaRPr lang="en-A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062BBB7-F3A5-4C7D-8A85-ECF93CF71F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F24B5DB5-C890-4266-A10E-3EFE2864383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AU"/>
              <a:t>MACHC20-07.5 - 5 Dec 2019</a:t>
            </a:r>
          </a:p>
        </p:txBody>
      </p:sp>
    </p:spTree>
    <p:extLst>
      <p:ext uri="{BB962C8B-B14F-4D97-AF65-F5344CB8AC3E}">
        <p14:creationId xmlns:p14="http://schemas.microsoft.com/office/powerpoint/2010/main" val="22417339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61">
          <p15:clr>
            <a:srgbClr val="FBAE40"/>
          </p15:clr>
        </p15:guide>
        <p15:guide id="2" pos="2811">
          <p15:clr>
            <a:srgbClr val="FBAE40"/>
          </p15:clr>
        </p15:guide>
        <p15:guide id="3" pos="4858">
          <p15:clr>
            <a:srgbClr val="FBAE40"/>
          </p15:clr>
        </p15:guide>
        <p15:guide id="4" pos="5115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36201FF-69EF-4381-9B87-0FF54AC1E7B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E266AF-210D-4B9E-92F6-EF999B290F31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3CEE5CB9-2BF1-456B-8C6E-B61DA3E9139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38200" y="1592263"/>
            <a:ext cx="3227388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077C79A4-6A99-404B-B6F6-DFDEB3A4B91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481511" y="1592263"/>
            <a:ext cx="6870701" cy="44227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53229CA-9376-4F24-BEF8-8AB8158E1F4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668BA58-2AAC-4A77-8072-19E4B4208B2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AU"/>
              <a:t>MACHC20-07.5 - 5 Dec 2019</a:t>
            </a:r>
          </a:p>
        </p:txBody>
      </p:sp>
    </p:spTree>
    <p:extLst>
      <p:ext uri="{BB962C8B-B14F-4D97-AF65-F5344CB8AC3E}">
        <p14:creationId xmlns:p14="http://schemas.microsoft.com/office/powerpoint/2010/main" val="23697734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561">
          <p15:clr>
            <a:srgbClr val="FBAE40"/>
          </p15:clr>
        </p15:guide>
        <p15:guide id="2" pos="281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layout -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08676F2-6696-43E5-9EEF-617FDBC9F56C}"/>
              </a:ext>
            </a:extLst>
          </p:cNvPr>
          <p:cNvSpPr/>
          <p:nvPr userDrawn="1"/>
        </p:nvSpPr>
        <p:spPr>
          <a:xfrm>
            <a:off x="0" y="0"/>
            <a:ext cx="4462463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3CEE5CB9-2BF1-456B-8C6E-B61DA3E9139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38200" y="4376128"/>
            <a:ext cx="3227388" cy="1638910"/>
          </a:xfrm>
        </p:spPr>
        <p:txBody>
          <a:bodyPr anchor="b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077C79A4-6A99-404B-B6F6-DFDEB3A4B91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903788" y="573933"/>
            <a:ext cx="6448424" cy="544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DA88664-AB11-41B2-912F-80BF53B4E2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545366"/>
            <a:ext cx="3227387" cy="2633831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AU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C62ACF11-01AD-4DAC-AB40-79BE1B1ADDC1}"/>
              </a:ext>
            </a:extLst>
          </p:cNvPr>
          <p:cNvCxnSpPr>
            <a:cxnSpLocks/>
          </p:cNvCxnSpPr>
          <p:nvPr userDrawn="1"/>
        </p:nvCxnSpPr>
        <p:spPr>
          <a:xfrm>
            <a:off x="838200" y="366244"/>
            <a:ext cx="718226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5CF664-FC53-437F-AAFF-E64B8D615C4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131706" y="6265776"/>
            <a:ext cx="2988000" cy="161583"/>
          </a:xfrm>
          <a:solidFill>
            <a:srgbClr val="D9D8D6"/>
          </a:solidFill>
        </p:spPr>
        <p:txBody>
          <a:bodyPr/>
          <a:lstStyle/>
          <a:p>
            <a:r>
              <a:rPr lang="en-AU"/>
              <a:t>MACHC20-07.5 - 5 Dec 2019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2AD401-54C7-4D84-93BF-A83964C2765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BE266AF-210D-4B9E-92F6-EF999B290F31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0475432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13">
          <p15:clr>
            <a:srgbClr val="FBAE40"/>
          </p15:clr>
        </p15:guide>
        <p15:guide id="2" pos="3064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Image/Gree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BA548E94-417B-4E24-9429-9E1C2FD8E1A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1156" y="0"/>
            <a:ext cx="12180844" cy="6858000"/>
          </a:xfrm>
          <a:prstGeom prst="rect">
            <a:avLst/>
          </a:prstGeom>
          <a:gradFill>
            <a:gsLst>
              <a:gs pos="0">
                <a:schemeClr val="accent4">
                  <a:lumMod val="50000"/>
                </a:schemeClr>
              </a:gs>
              <a:gs pos="45000">
                <a:schemeClr val="accent4">
                  <a:lumMod val="75000"/>
                  <a:alpha val="0"/>
                </a:schemeClr>
              </a:gs>
            </a:gsLst>
            <a:lin ang="5400000" scaled="1"/>
          </a:gradFill>
        </p:spPr>
        <p:txBody>
          <a:bodyPr/>
          <a:lstStyle>
            <a:lvl1pPr>
              <a:defRPr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50824F02-0181-44BD-9ABC-EEC74F15F8B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lIns="72000" tIns="72000" rIns="72000" bIns="72000"/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0131425" algn="l"/>
              </a:tabLst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/>
              <a:t>Click on the icon to insert picture</a:t>
            </a:r>
            <a:br>
              <a:rPr lang="en-AU"/>
            </a:br>
            <a:r>
              <a:rPr lang="en-AU"/>
              <a:t>Right click on the picture and send to back</a:t>
            </a:r>
            <a:br>
              <a:rPr lang="en-AU"/>
            </a:br>
            <a:r>
              <a:rPr lang="en-AU"/>
              <a:t>Delete if not in use</a:t>
            </a:r>
          </a:p>
          <a:p>
            <a:endParaRPr lang="en-AU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94DBA2E6-22A7-4651-9E57-13FAFDF79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7737" y="1984917"/>
            <a:ext cx="7299969" cy="4030121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lang="en-US" sz="6000" kern="1200" cap="none" baseline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80000"/>
              </a:lnSpc>
              <a:spcBef>
                <a:spcPts val="3600"/>
              </a:spcBef>
              <a:buFont typeface="Arial" panose="020B0604020202020204" pitchFamily="34" charset="0"/>
              <a:buNone/>
              <a:defRPr lang="en-US" sz="2200" kern="1200" cap="none" dirty="0" smtClean="0">
                <a:solidFill>
                  <a:schemeClr val="accent1"/>
                </a:solidFill>
                <a:latin typeface="+mn-lt"/>
                <a:ea typeface="+mn-ea"/>
                <a:cs typeface="Segoe UI Semibold" panose="020B0702040204020203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59EED4A8-E5E4-4482-A2E5-6FE7D0008F3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7459" y="682683"/>
            <a:ext cx="2056571" cy="909637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01983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789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layout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08676F2-6696-43E5-9EEF-617FDBC9F56C}"/>
              </a:ext>
            </a:extLst>
          </p:cNvPr>
          <p:cNvSpPr/>
          <p:nvPr userDrawn="1"/>
        </p:nvSpPr>
        <p:spPr>
          <a:xfrm>
            <a:off x="0" y="0"/>
            <a:ext cx="4462463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3CEE5CB9-2BF1-456B-8C6E-B61DA3E9139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38200" y="4376128"/>
            <a:ext cx="3227388" cy="1638910"/>
          </a:xfrm>
        </p:spPr>
        <p:txBody>
          <a:bodyPr anchor="b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buClr>
                <a:schemeClr val="accent4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accent4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077C79A4-6A99-404B-B6F6-DFDEB3A4B91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903788" y="573933"/>
            <a:ext cx="6448424" cy="544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2F061161-129D-4CE1-9035-DA7BEFA6E4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545366"/>
            <a:ext cx="3227387" cy="2633831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2332FB1-8F16-43FF-889D-5EC79E768902}"/>
              </a:ext>
            </a:extLst>
          </p:cNvPr>
          <p:cNvCxnSpPr>
            <a:cxnSpLocks/>
          </p:cNvCxnSpPr>
          <p:nvPr userDrawn="1"/>
        </p:nvCxnSpPr>
        <p:spPr>
          <a:xfrm>
            <a:off x="838200" y="366244"/>
            <a:ext cx="718226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A24DA64-7790-4BD9-A796-72117A6895D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131706" y="6265776"/>
            <a:ext cx="2988000" cy="161583"/>
          </a:xfrm>
          <a:solidFill>
            <a:schemeClr val="accent1"/>
          </a:solidFill>
          <a:effectLst>
            <a:outerShdw dist="12700" dir="10800000" algn="ctr" rotWithShape="0">
              <a:schemeClr val="bg1"/>
            </a:outerShdw>
          </a:effectLst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AU"/>
              <a:t>MACHC20-07.5 - 5 Dec 2019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B9ECD8C-39B0-47A6-84F7-BBFBFC44BB1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BE266AF-210D-4B9E-92F6-EF999B290F31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4522936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13">
          <p15:clr>
            <a:srgbClr val="FBAE40"/>
          </p15:clr>
        </p15:guide>
        <p15:guide id="2" pos="3064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layout -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08676F2-6696-43E5-9EEF-617FDBC9F56C}"/>
              </a:ext>
            </a:extLst>
          </p:cNvPr>
          <p:cNvSpPr/>
          <p:nvPr userDrawn="1"/>
        </p:nvSpPr>
        <p:spPr>
          <a:xfrm>
            <a:off x="0" y="0"/>
            <a:ext cx="4462463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3CEE5CB9-2BF1-456B-8C6E-B61DA3E9139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38200" y="4376128"/>
            <a:ext cx="3227388" cy="1638910"/>
          </a:xfrm>
        </p:spPr>
        <p:txBody>
          <a:bodyPr anchor="b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077C79A4-6A99-404B-B6F6-DFDEB3A4B91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903788" y="573933"/>
            <a:ext cx="6448424" cy="544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65B1C13-59BF-4DAF-B4F3-9D85837A15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545366"/>
            <a:ext cx="3227387" cy="2633831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34BF83B-CD10-4845-AB6B-6738C756E0C8}"/>
              </a:ext>
            </a:extLst>
          </p:cNvPr>
          <p:cNvCxnSpPr>
            <a:cxnSpLocks/>
          </p:cNvCxnSpPr>
          <p:nvPr userDrawn="1"/>
        </p:nvCxnSpPr>
        <p:spPr>
          <a:xfrm>
            <a:off x="838200" y="366244"/>
            <a:ext cx="718226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B462103-88F9-4DC7-B3CE-ABE29AFB8D2C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131706" y="6265776"/>
            <a:ext cx="2988000" cy="161583"/>
          </a:xfrm>
          <a:solidFill>
            <a:schemeClr val="accent3"/>
          </a:solidFill>
          <a:effectLst>
            <a:outerShdw dist="12700" dir="10800000" algn="ctr" rotWithShape="0">
              <a:schemeClr val="bg1"/>
            </a:outerShdw>
          </a:effectLst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AU"/>
              <a:t>MACHC20-07.5 - 5 Dec 2019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E73A835-D5C6-4CEE-827A-AFDF9E89D01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BE266AF-210D-4B9E-92F6-EF999B290F31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08123182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13">
          <p15:clr>
            <a:srgbClr val="FBAE40"/>
          </p15:clr>
        </p15:guide>
        <p15:guide id="2" pos="3064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/3 layout -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08676F2-6696-43E5-9EEF-617FDBC9F56C}"/>
              </a:ext>
            </a:extLst>
          </p:cNvPr>
          <p:cNvSpPr/>
          <p:nvPr userDrawn="1"/>
        </p:nvSpPr>
        <p:spPr>
          <a:xfrm>
            <a:off x="0" y="0"/>
            <a:ext cx="4462463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3CEE5CB9-2BF1-456B-8C6E-B61DA3E91393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838200" y="4376128"/>
            <a:ext cx="3227388" cy="1638910"/>
          </a:xfrm>
        </p:spPr>
        <p:txBody>
          <a:bodyPr anchor="b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077C79A4-6A99-404B-B6F6-DFDEB3A4B91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903788" y="573933"/>
            <a:ext cx="6448424" cy="544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F65B1C13-59BF-4DAF-B4F3-9D85837A15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545366"/>
            <a:ext cx="3227387" cy="2633831"/>
          </a:xfr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F9631D2-38E5-4B68-B4C6-B125E8746CEC}"/>
              </a:ext>
            </a:extLst>
          </p:cNvPr>
          <p:cNvCxnSpPr>
            <a:cxnSpLocks/>
          </p:cNvCxnSpPr>
          <p:nvPr userDrawn="1"/>
        </p:nvCxnSpPr>
        <p:spPr>
          <a:xfrm>
            <a:off x="838200" y="366244"/>
            <a:ext cx="718226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C445919-7126-42D4-90B2-9C913F0773B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131706" y="6265776"/>
            <a:ext cx="2988000" cy="161583"/>
          </a:xfrm>
          <a:solidFill>
            <a:schemeClr val="accent4"/>
          </a:solidFill>
          <a:effectLst>
            <a:outerShdw dist="12700" dir="10800000" algn="ctr" rotWithShape="0">
              <a:schemeClr val="bg1"/>
            </a:outerShdw>
          </a:effectLst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AU"/>
              <a:t>MACHC20-07.5 - 5 Dec 2019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3E77BA7-B3FF-4DF6-8476-925E2BE1AF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BE266AF-210D-4B9E-92F6-EF999B290F31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62709187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13">
          <p15:clr>
            <a:srgbClr val="FBAE40"/>
          </p15:clr>
        </p15:guide>
        <p15:guide id="2" pos="3064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layout -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08676F2-6696-43E5-9EEF-617FDBC9F56C}"/>
              </a:ext>
            </a:extLst>
          </p:cNvPr>
          <p:cNvSpPr/>
          <p:nvPr userDrawn="1"/>
        </p:nvSpPr>
        <p:spPr>
          <a:xfrm>
            <a:off x="0" y="0"/>
            <a:ext cx="4462463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077C79A4-6A99-404B-B6F6-DFDEB3A4B91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903788" y="573933"/>
            <a:ext cx="6448424" cy="5441106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D1ADF589-36F7-4542-80B3-85CE7C26BE3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471106" y="3661690"/>
            <a:ext cx="2610641" cy="246221"/>
          </a:xfrm>
        </p:spPr>
        <p:txBody>
          <a:bodyPr anchor="ctr">
            <a:spAutoFit/>
          </a:bodyPr>
          <a:lstStyle>
            <a:lvl1pPr>
              <a:defRPr sz="16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AU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813933C7-8DDD-4369-AC8B-60C0831D209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471106" y="4316836"/>
            <a:ext cx="2610641" cy="246221"/>
          </a:xfrm>
        </p:spPr>
        <p:txBody>
          <a:bodyPr anchor="ctr">
            <a:spAutoFit/>
          </a:bodyPr>
          <a:lstStyle>
            <a:lvl1pPr>
              <a:defRPr sz="16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AU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CB05B4D0-9E65-434D-AD03-198547552F8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71106" y="4971982"/>
            <a:ext cx="2610641" cy="246221"/>
          </a:xfrm>
        </p:spPr>
        <p:txBody>
          <a:bodyPr anchor="ctr">
            <a:spAutoFit/>
          </a:bodyPr>
          <a:lstStyle>
            <a:lvl1pPr>
              <a:defRPr sz="16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AU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D04B4D21-05E0-48C2-9E2B-6A56EC9FEB1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471106" y="5627128"/>
            <a:ext cx="2610641" cy="246221"/>
          </a:xfrm>
        </p:spPr>
        <p:txBody>
          <a:bodyPr anchor="ctr">
            <a:spAutoFit/>
          </a:bodyPr>
          <a:lstStyle>
            <a:lvl1pPr>
              <a:defRPr sz="16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  <a:endParaRPr lang="en-AU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CDB978F5-FCF3-4478-9330-A3667E9D9C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545366"/>
            <a:ext cx="3227387" cy="2633831"/>
          </a:xfrm>
        </p:spPr>
        <p:txBody>
          <a:bodyPr anchor="t"/>
          <a:lstStyle/>
          <a:p>
            <a:r>
              <a:rPr lang="en-US"/>
              <a:t>Click to edit Master title style</a:t>
            </a:r>
            <a:endParaRPr lang="en-AU"/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5DBA16EB-B237-4154-83B6-8A83CB62A0F5}"/>
              </a:ext>
            </a:extLst>
          </p:cNvPr>
          <p:cNvCxnSpPr>
            <a:cxnSpLocks/>
          </p:cNvCxnSpPr>
          <p:nvPr userDrawn="1"/>
        </p:nvCxnSpPr>
        <p:spPr>
          <a:xfrm>
            <a:off x="838200" y="366244"/>
            <a:ext cx="718226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602503F4-5DFE-44E6-8845-3605253D45C1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8201" y="3536274"/>
            <a:ext cx="544308" cy="497055"/>
          </a:xfrm>
          <a:solidFill>
            <a:schemeClr val="accent1"/>
          </a:solidFill>
        </p:spPr>
        <p:txBody>
          <a:bodyPr/>
          <a:lstStyle>
            <a:lvl1pPr>
              <a:defRPr sz="12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24">
            <a:extLst>
              <a:ext uri="{FF2B5EF4-FFF2-40B4-BE49-F238E27FC236}">
                <a16:creationId xmlns:a16="http://schemas.microsoft.com/office/drawing/2014/main" id="{11537512-B4BA-4A52-A069-5C9134D6F53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38201" y="4191420"/>
            <a:ext cx="544308" cy="497055"/>
          </a:xfrm>
          <a:solidFill>
            <a:schemeClr val="accent3"/>
          </a:solidFill>
        </p:spPr>
        <p:txBody>
          <a:bodyPr/>
          <a:lstStyle>
            <a:lvl1pPr>
              <a:defRPr sz="12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FA215832-BCA5-499F-BF37-7F878D86E4A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38201" y="4846566"/>
            <a:ext cx="544308" cy="497055"/>
          </a:xfrm>
          <a:solidFill>
            <a:schemeClr val="accent4"/>
          </a:solidFill>
        </p:spPr>
        <p:txBody>
          <a:bodyPr/>
          <a:lstStyle>
            <a:lvl1pPr>
              <a:defRPr sz="12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24">
            <a:extLst>
              <a:ext uri="{FF2B5EF4-FFF2-40B4-BE49-F238E27FC236}">
                <a16:creationId xmlns:a16="http://schemas.microsoft.com/office/drawing/2014/main" id="{770F81D0-3D0F-45D1-B433-4877B220F7D2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38201" y="5501712"/>
            <a:ext cx="544308" cy="497055"/>
          </a:xfrm>
          <a:solidFill>
            <a:schemeClr val="accent2"/>
          </a:solidFill>
        </p:spPr>
        <p:txBody>
          <a:bodyPr/>
          <a:lstStyle>
            <a:lvl1pPr>
              <a:defRPr sz="1200"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84C6AB86-D052-4BC9-BFA5-D06CBF58C9C1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838201" y="3536274"/>
            <a:ext cx="535828" cy="490130"/>
          </a:xfrm>
        </p:spPr>
        <p:txBody>
          <a:bodyPr/>
          <a:lstStyle>
            <a:lvl1pPr>
              <a:defRPr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Content Placeholder 3">
            <a:extLst>
              <a:ext uri="{FF2B5EF4-FFF2-40B4-BE49-F238E27FC236}">
                <a16:creationId xmlns:a16="http://schemas.microsoft.com/office/drawing/2014/main" id="{549E1B23-6BC2-4817-BB3C-ED0B538B395C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838201" y="4191420"/>
            <a:ext cx="535828" cy="490130"/>
          </a:xfrm>
        </p:spPr>
        <p:txBody>
          <a:bodyPr/>
          <a:lstStyle>
            <a:lvl1pPr>
              <a:defRPr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ADE2D924-5616-4D7D-94AC-D0FE0334C42F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838201" y="5501712"/>
            <a:ext cx="535828" cy="490130"/>
          </a:xfrm>
        </p:spPr>
        <p:txBody>
          <a:bodyPr/>
          <a:lstStyle>
            <a:lvl1pPr>
              <a:defRPr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Content Placeholder 3">
            <a:extLst>
              <a:ext uri="{FF2B5EF4-FFF2-40B4-BE49-F238E27FC236}">
                <a16:creationId xmlns:a16="http://schemas.microsoft.com/office/drawing/2014/main" id="{ADE2D924-5616-4D7D-94AC-D0FE0334C42F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838201" y="4844487"/>
            <a:ext cx="535828" cy="490130"/>
          </a:xfrm>
        </p:spPr>
        <p:txBody>
          <a:bodyPr/>
          <a:lstStyle>
            <a:lvl1pPr>
              <a:defRPr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CFF84340-D95E-4C8C-BB48-5C421B33CD03}"/>
              </a:ext>
            </a:extLst>
          </p:cNvPr>
          <p:cNvSpPr txBox="1"/>
          <p:nvPr userDrawn="1"/>
        </p:nvSpPr>
        <p:spPr>
          <a:xfrm>
            <a:off x="-2597150" y="1376976"/>
            <a:ext cx="2436794" cy="37779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spcBef>
                <a:spcPts val="300"/>
              </a:spcBef>
            </a:pPr>
            <a:r>
              <a:rPr lang="en-AU" sz="1200" b="1"/>
              <a:t>Inserting Icons</a:t>
            </a:r>
          </a:p>
          <a:p>
            <a:pPr>
              <a:spcBef>
                <a:spcPts val="300"/>
              </a:spcBef>
            </a:pPr>
            <a:r>
              <a:rPr lang="en-AU" sz="1200"/>
              <a:t>The placeholders inside the squares are designed to house icons. </a:t>
            </a:r>
          </a:p>
          <a:p>
            <a:pPr marL="228600" indent="-228600">
              <a:spcBef>
                <a:spcPts val="300"/>
              </a:spcBef>
              <a:buFont typeface="+mj-lt"/>
              <a:buAutoNum type="arabicPeriod"/>
            </a:pPr>
            <a:r>
              <a:rPr lang="en-AU" sz="1200"/>
              <a:t>copy (</a:t>
            </a:r>
            <a:r>
              <a:rPr lang="en-AU" sz="1200" err="1"/>
              <a:t>crtl</a:t>
            </a:r>
            <a:r>
              <a:rPr lang="en-AU" sz="1200"/>
              <a:t> + C) an icon from the assets section of this document </a:t>
            </a:r>
          </a:p>
          <a:p>
            <a:pPr marL="228600" indent="-228600">
              <a:spcBef>
                <a:spcPts val="300"/>
              </a:spcBef>
              <a:buFont typeface="+mj-lt"/>
              <a:buAutoNum type="arabicPeriod"/>
            </a:pPr>
            <a:r>
              <a:rPr lang="en-AU" sz="1200"/>
              <a:t>click on the inner bounding box (</a:t>
            </a:r>
            <a:r>
              <a:rPr lang="en-AU" sz="1200" err="1"/>
              <a:t>ie</a:t>
            </a:r>
            <a:r>
              <a:rPr lang="en-AU" sz="1200"/>
              <a:t> not the coloured box) and paste (ctrl + V) it in. The icon will automatically resize to the size of the placeholder. Note: do not make them too large as reduction in quality will occur with the icons.</a:t>
            </a:r>
          </a:p>
          <a:p>
            <a:pPr marL="228600" indent="-228600">
              <a:spcBef>
                <a:spcPts val="300"/>
              </a:spcBef>
              <a:buFont typeface="+mj-lt"/>
              <a:buAutoNum type="arabicPeriod"/>
            </a:pPr>
            <a:endParaRPr lang="en-AU" sz="1200"/>
          </a:p>
          <a:p>
            <a:pPr>
              <a:spcBef>
                <a:spcPts val="300"/>
              </a:spcBef>
            </a:pPr>
            <a:r>
              <a:rPr lang="en-AU" sz="1200"/>
              <a:t>Icon box colours can be changed by selecting them and using the ‘shape fill’ function.</a:t>
            </a:r>
          </a:p>
          <a:p>
            <a:pPr>
              <a:spcBef>
                <a:spcPts val="300"/>
              </a:spcBef>
            </a:pPr>
            <a:endParaRPr lang="en-AU" sz="1200"/>
          </a:p>
          <a:p>
            <a:pPr>
              <a:spcBef>
                <a:spcPts val="300"/>
              </a:spcBef>
            </a:pPr>
            <a:r>
              <a:rPr lang="en-AU" sz="1200"/>
              <a:t>Please only use icons on coloured box backgrounds provided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67725EA-51FA-47A4-A016-8387F6874B85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>
          <a:xfrm>
            <a:off x="1131706" y="6265776"/>
            <a:ext cx="2988000" cy="161583"/>
          </a:xfrm>
          <a:solidFill>
            <a:srgbClr val="D9D8D6"/>
          </a:solidFill>
        </p:spPr>
        <p:txBody>
          <a:bodyPr/>
          <a:lstStyle/>
          <a:p>
            <a:r>
              <a:rPr lang="en-AU"/>
              <a:t>MACHC20-07.5 - 5 Dec 2019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EF71262-2043-44A1-ADB5-4F340587B1C5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EBE266AF-210D-4B9E-92F6-EF999B290F31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23744716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2813">
          <p15:clr>
            <a:srgbClr val="FBAE40"/>
          </p15:clr>
        </p15:guide>
        <p15:guide id="2" pos="3064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36201FF-69EF-4381-9B87-0FF54AC1E7B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E266AF-210D-4B9E-92F6-EF999B290F31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3E3110D-DE10-485D-9277-ED42DCA279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F2C5DC8-0694-4E82-8323-AD03152D87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AU"/>
              <a:t>MACHC20-07.5 - 5 Dec 2019</a:t>
            </a:r>
          </a:p>
        </p:txBody>
      </p:sp>
    </p:spTree>
    <p:extLst>
      <p:ext uri="{BB962C8B-B14F-4D97-AF65-F5344CB8AC3E}">
        <p14:creationId xmlns:p14="http://schemas.microsoft.com/office/powerpoint/2010/main" val="219863952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-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36201FF-69EF-4381-9B87-0FF54AC1E7B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BE266AF-210D-4B9E-92F6-EF999B290F31}" type="slidenum">
              <a:rPr lang="en-AU" smtClean="0"/>
              <a:pPr/>
              <a:t>‹#›</a:t>
            </a:fld>
            <a:endParaRPr lang="en-AU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DD67EF6-8B72-4C41-A511-E607326D79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23581" y="6287016"/>
            <a:ext cx="828632" cy="37150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AA6E770-2ABA-4582-8119-95AC42181F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F81FA9-9EA1-4F7D-AA3C-1EE8AA31490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solidFill>
            <a:schemeClr val="accent1"/>
          </a:solidFill>
          <a:effectLst>
            <a:outerShdw dist="12700" dir="10800000" algn="ctr" rotWithShape="0">
              <a:schemeClr val="bg1"/>
            </a:outerShdw>
          </a:effectLst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AU"/>
              <a:t>MACHC20-07.5 - 5 Dec 2019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A5F099A-4011-42AB-B877-4E4B65178EE5}"/>
              </a:ext>
            </a:extLst>
          </p:cNvPr>
          <p:cNvCxnSpPr>
            <a:cxnSpLocks/>
          </p:cNvCxnSpPr>
          <p:nvPr userDrawn="1"/>
        </p:nvCxnSpPr>
        <p:spPr>
          <a:xfrm>
            <a:off x="838200" y="366244"/>
            <a:ext cx="718226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975368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only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36201FF-69EF-4381-9B87-0FF54AC1E7B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BE266AF-210D-4B9E-92F6-EF999B290F31}" type="slidenum">
              <a:rPr lang="en-AU" smtClean="0"/>
              <a:pPr/>
              <a:t>‹#›</a:t>
            </a:fld>
            <a:endParaRPr lang="en-AU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DD67EF6-8B72-4C41-A511-E607326D79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23581" y="6287016"/>
            <a:ext cx="828632" cy="37150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F182DD4-E0C0-4C62-BCDC-D6718CB98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1AFAB5-ECE3-4454-A592-4A48B31E6070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solidFill>
            <a:schemeClr val="accent3"/>
          </a:solidFill>
          <a:effectLst>
            <a:outerShdw dist="12700" dir="10800000" algn="ctr" rotWithShape="0">
              <a:schemeClr val="bg1"/>
            </a:outerShdw>
          </a:effectLst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AU"/>
              <a:t>MACHC20-07.5 - 5 Dec 2019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8BC4A5D-1A37-44FD-ABA7-A16CD6B660E7}"/>
              </a:ext>
            </a:extLst>
          </p:cNvPr>
          <p:cNvCxnSpPr>
            <a:cxnSpLocks/>
          </p:cNvCxnSpPr>
          <p:nvPr userDrawn="1"/>
        </p:nvCxnSpPr>
        <p:spPr>
          <a:xfrm>
            <a:off x="838200" y="366244"/>
            <a:ext cx="718226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2664164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 only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36201FF-69EF-4381-9B87-0FF54AC1E7B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BE266AF-210D-4B9E-92F6-EF999B290F31}" type="slidenum">
              <a:rPr lang="en-AU" smtClean="0"/>
              <a:pPr/>
              <a:t>‹#›</a:t>
            </a:fld>
            <a:endParaRPr lang="en-AU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DD67EF6-8B72-4C41-A511-E607326D79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23581" y="6287016"/>
            <a:ext cx="828632" cy="371503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F182DD4-E0C0-4C62-BCDC-D6718CB98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2043F86-3FC4-4CF8-854C-F48CBADCEC5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solidFill>
            <a:schemeClr val="accent4"/>
          </a:solidFill>
          <a:effectLst>
            <a:outerShdw dist="12700" dir="10800000" algn="ctr" rotWithShape="0">
              <a:schemeClr val="bg1"/>
            </a:outerShdw>
          </a:effectLst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AU"/>
              <a:t>MACHC20-07.5 - 5 Dec 2019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69EE71F-5F50-4FE7-BE46-CD24DB994A82}"/>
              </a:ext>
            </a:extLst>
          </p:cNvPr>
          <p:cNvCxnSpPr>
            <a:cxnSpLocks/>
          </p:cNvCxnSpPr>
          <p:nvPr userDrawn="1"/>
        </p:nvCxnSpPr>
        <p:spPr>
          <a:xfrm>
            <a:off x="838200" y="366244"/>
            <a:ext cx="718226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558312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D41C64-84CF-4C19-A1DB-97B61E40BBA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E266AF-210D-4B9E-92F6-EF999B290F31}" type="slidenum">
              <a:rPr lang="en-AU" smtClean="0"/>
              <a:t>‹#›</a:t>
            </a:fld>
            <a:endParaRPr lang="en-AU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293FD82F-771B-4F24-86B5-4A57EDF18366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en-AU"/>
              <a:t>MACHC20-07.5 - 5 Dec 2019</a:t>
            </a:r>
          </a:p>
        </p:txBody>
      </p:sp>
    </p:spTree>
    <p:extLst>
      <p:ext uri="{BB962C8B-B14F-4D97-AF65-F5344CB8AC3E}">
        <p14:creationId xmlns:p14="http://schemas.microsoft.com/office/powerpoint/2010/main" val="163954196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Quote - Green background">
    <p:bg>
      <p:bgPr>
        <a:solidFill>
          <a:srgbClr val="8CB68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94DBA2E6-22A7-4651-9E57-13FAFDF79D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51408" y="3458796"/>
            <a:ext cx="8977067" cy="1291498"/>
          </a:xfrm>
          <a:prstGeom prst="rect">
            <a:avLst/>
          </a:prstGeom>
        </p:spPr>
        <p:txBody>
          <a:bodyPr wrap="square" tIns="7200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1" kern="1200" cap="none" baseline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80000"/>
              </a:lnSpc>
              <a:spcBef>
                <a:spcPts val="3600"/>
              </a:spcBef>
              <a:buFont typeface="Arial" panose="020B0604020202020204" pitchFamily="34" charset="0"/>
              <a:buNone/>
              <a:defRPr lang="en-US" sz="2200" kern="1200" dirty="0" smtClean="0">
                <a:solidFill>
                  <a:schemeClr val="bg1"/>
                </a:solidFill>
                <a:latin typeface="+mn-lt"/>
                <a:ea typeface="+mn-ea"/>
                <a:cs typeface="Segoe UI Semibold" panose="020B0702040204020203" pitchFamily="34" charset="0"/>
              </a:defRPr>
            </a:lvl2pPr>
          </a:lstStyle>
          <a:p>
            <a:pPr lvl="0"/>
            <a:r>
              <a:rPr lang="en-US"/>
              <a:t>Move up and down or delete quotation mark as needed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49BD6C4-D1A6-45EB-A778-99AEC9DD3449}"/>
              </a:ext>
            </a:extLst>
          </p:cNvPr>
          <p:cNvCxnSpPr>
            <a:cxnSpLocks/>
          </p:cNvCxnSpPr>
          <p:nvPr/>
        </p:nvCxnSpPr>
        <p:spPr>
          <a:xfrm>
            <a:off x="1351156" y="5059979"/>
            <a:ext cx="718226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D30A8C-B1D5-40FF-9B6F-23D0DE4EAE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363915" y="5368925"/>
            <a:ext cx="8977067" cy="4302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B3084B8-6AB8-4793-8C29-A7FB2C8A8F3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23581" y="6287016"/>
            <a:ext cx="828632" cy="371503"/>
          </a:xfrm>
          <a:prstGeom prst="rect">
            <a:avLst/>
          </a:prstGeom>
        </p:spPr>
      </p:pic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0C46AAAF-7A16-49CC-948E-D52303F996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63915" y="1968183"/>
            <a:ext cx="869556" cy="724630"/>
          </a:xfrm>
          <a:prstGeom prst="rect">
            <a:avLst/>
          </a:pr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10103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- Horizontal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15">
            <a:extLst>
              <a:ext uri="{FF2B5EF4-FFF2-40B4-BE49-F238E27FC236}">
                <a16:creationId xmlns:a16="http://schemas.microsoft.com/office/drawing/2014/main" id="{A7795DA6-48A2-47B1-A81E-3883E049F8DD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43770" y="1198359"/>
            <a:ext cx="10304460" cy="3732192"/>
          </a:xfrm>
          <a:prstGeom prst="rect">
            <a:avLst/>
          </a:prstGeom>
          <a:solidFill>
            <a:schemeClr val="bg2"/>
          </a:solidFill>
        </p:spPr>
        <p:txBody>
          <a:bodyPr lIns="72000" tIns="72000" rIns="72000" bIns="72000"/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0131425" algn="l"/>
              </a:tabLst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/>
              <a:t>Click on the icon to insert picture</a:t>
            </a:r>
            <a:br>
              <a:rPr lang="en-AU"/>
            </a:br>
            <a:endParaRPr lang="en-AU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94DBA2E6-22A7-4651-9E57-13FAFDF79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3770" y="5054423"/>
            <a:ext cx="7034428" cy="116002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lang="en-US" sz="4000" kern="1200" cap="none" baseline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80000"/>
              </a:lnSpc>
              <a:spcBef>
                <a:spcPts val="3600"/>
              </a:spcBef>
              <a:buFont typeface="Arial" panose="020B0604020202020204" pitchFamily="34" charset="0"/>
              <a:buNone/>
              <a:defRPr lang="en-US" sz="2200" kern="1200" dirty="0" smtClean="0">
                <a:solidFill>
                  <a:schemeClr val="accent1"/>
                </a:solidFill>
                <a:latin typeface="+mn-lt"/>
                <a:ea typeface="+mn-ea"/>
                <a:cs typeface="Segoe UI Semibold" panose="020B0702040204020203" pitchFamily="34" charset="0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DCCCD0-04A3-4428-BE29-DBF73D1F57E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59763" y="5414532"/>
            <a:ext cx="3174864" cy="741362"/>
          </a:xfrm>
          <a:prstGeom prst="rect">
            <a:avLst/>
          </a:prstGeom>
        </p:spPr>
        <p:txBody>
          <a:bodyPr anchor="b"/>
          <a:lstStyle>
            <a:lvl1pPr algn="r">
              <a:spcBef>
                <a:spcPts val="0"/>
              </a:spcBef>
              <a:defRPr>
                <a:solidFill>
                  <a:schemeClr val="accent4"/>
                </a:solidFill>
                <a:latin typeface="+mj-lt"/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chemeClr val="accent4"/>
                </a:solidFill>
                <a:latin typeface="+mn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3ACE1FA6-82AF-4939-9827-310162B6772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4394" y="537737"/>
            <a:ext cx="2056571" cy="909637"/>
          </a:xfrm>
          <a:prstGeom prst="rect">
            <a:avLst/>
          </a:prstGeom>
        </p:spPr>
      </p:pic>
      <p:grpSp>
        <p:nvGrpSpPr>
          <p:cNvPr id="10" name="Group 9" hidden="1">
            <a:extLst>
              <a:ext uri="{FF2B5EF4-FFF2-40B4-BE49-F238E27FC236}">
                <a16:creationId xmlns:a16="http://schemas.microsoft.com/office/drawing/2014/main" id="{7EB546C8-ED70-4F2D-BDDB-CB4B32845FBF}"/>
              </a:ext>
            </a:extLst>
          </p:cNvPr>
          <p:cNvGrpSpPr/>
          <p:nvPr userDrawn="1"/>
        </p:nvGrpSpPr>
        <p:grpSpPr>
          <a:xfrm>
            <a:off x="706472" y="945984"/>
            <a:ext cx="553882" cy="316397"/>
            <a:chOff x="706472" y="945984"/>
            <a:chExt cx="553882" cy="316397"/>
          </a:xfrm>
        </p:grpSpPr>
        <p:sp>
          <p:nvSpPr>
            <p:cNvPr id="14" name="Freeform: Shape 13">
              <a:extLst>
                <a:ext uri="{FF2B5EF4-FFF2-40B4-BE49-F238E27FC236}">
                  <a16:creationId xmlns:a16="http://schemas.microsoft.com/office/drawing/2014/main" id="{3C5D48B5-62C4-43D0-B660-B8D7ACDFEC67}"/>
                </a:ext>
              </a:extLst>
            </p:cNvPr>
            <p:cNvSpPr/>
            <p:nvPr userDrawn="1"/>
          </p:nvSpPr>
          <p:spPr>
            <a:xfrm>
              <a:off x="943958" y="945984"/>
              <a:ext cx="316396" cy="237297"/>
            </a:xfrm>
            <a:custGeom>
              <a:avLst/>
              <a:gdLst>
                <a:gd name="connsiteX0" fmla="*/ 206448 w 316395"/>
                <a:gd name="connsiteY0" fmla="*/ 88195 h 237296"/>
                <a:gd name="connsiteX1" fmla="*/ 169667 w 316395"/>
                <a:gd name="connsiteY1" fmla="*/ 56160 h 237296"/>
                <a:gd name="connsiteX2" fmla="*/ 132886 w 316395"/>
                <a:gd name="connsiteY2" fmla="*/ 90964 h 237296"/>
                <a:gd name="connsiteX3" fmla="*/ 132886 w 316395"/>
                <a:gd name="connsiteY3" fmla="*/ 176786 h 237296"/>
                <a:gd name="connsiteX4" fmla="*/ 170063 w 316395"/>
                <a:gd name="connsiteY4" fmla="*/ 206448 h 237296"/>
                <a:gd name="connsiteX5" fmla="*/ 206448 w 316395"/>
                <a:gd name="connsiteY5" fmla="*/ 174018 h 237296"/>
                <a:gd name="connsiteX6" fmla="*/ 206448 w 316395"/>
                <a:gd name="connsiteY6" fmla="*/ 88195 h 237296"/>
                <a:gd name="connsiteX7" fmla="*/ 334984 w 316395"/>
                <a:gd name="connsiteY7" fmla="*/ 210007 h 237296"/>
                <a:gd name="connsiteX8" fmla="*/ 289502 w 316395"/>
                <a:gd name="connsiteY8" fmla="*/ 255489 h 237296"/>
                <a:gd name="connsiteX9" fmla="*/ 278033 w 316395"/>
                <a:gd name="connsiteY9" fmla="*/ 256676 h 237296"/>
                <a:gd name="connsiteX10" fmla="*/ 45482 w 316395"/>
                <a:gd name="connsiteY10" fmla="*/ 256676 h 237296"/>
                <a:gd name="connsiteX11" fmla="*/ 0 w 316395"/>
                <a:gd name="connsiteY11" fmla="*/ 211194 h 237296"/>
                <a:gd name="connsiteX12" fmla="*/ 0 w 316395"/>
                <a:gd name="connsiteY12" fmla="*/ 45482 h 237296"/>
                <a:gd name="connsiteX13" fmla="*/ 45482 w 316395"/>
                <a:gd name="connsiteY13" fmla="*/ 0 h 237296"/>
                <a:gd name="connsiteX14" fmla="*/ 289106 w 316395"/>
                <a:gd name="connsiteY14" fmla="*/ 0 h 237296"/>
                <a:gd name="connsiteX15" fmla="*/ 334588 w 316395"/>
                <a:gd name="connsiteY15" fmla="*/ 45482 h 237296"/>
                <a:gd name="connsiteX16" fmla="*/ 334588 w 316395"/>
                <a:gd name="connsiteY16" fmla="*/ 210007 h 237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16395" h="237296">
                  <a:moveTo>
                    <a:pt x="206448" y="88195"/>
                  </a:moveTo>
                  <a:cubicBezTo>
                    <a:pt x="206448" y="88195"/>
                    <a:pt x="205657" y="56160"/>
                    <a:pt x="169667" y="56160"/>
                  </a:cubicBezTo>
                  <a:cubicBezTo>
                    <a:pt x="133677" y="56160"/>
                    <a:pt x="132886" y="90964"/>
                    <a:pt x="132886" y="90964"/>
                  </a:cubicBezTo>
                  <a:lnTo>
                    <a:pt x="132886" y="176786"/>
                  </a:lnTo>
                  <a:cubicBezTo>
                    <a:pt x="132886" y="176786"/>
                    <a:pt x="133282" y="206448"/>
                    <a:pt x="170063" y="206448"/>
                  </a:cubicBezTo>
                  <a:cubicBezTo>
                    <a:pt x="206844" y="206448"/>
                    <a:pt x="206448" y="174018"/>
                    <a:pt x="206448" y="174018"/>
                  </a:cubicBezTo>
                  <a:lnTo>
                    <a:pt x="206448" y="88195"/>
                  </a:lnTo>
                  <a:close/>
                  <a:moveTo>
                    <a:pt x="334984" y="210007"/>
                  </a:moveTo>
                  <a:cubicBezTo>
                    <a:pt x="334984" y="232946"/>
                    <a:pt x="311650" y="255489"/>
                    <a:pt x="289502" y="255489"/>
                  </a:cubicBezTo>
                  <a:lnTo>
                    <a:pt x="278033" y="256676"/>
                  </a:lnTo>
                  <a:lnTo>
                    <a:pt x="45482" y="256676"/>
                  </a:lnTo>
                  <a:cubicBezTo>
                    <a:pt x="23334" y="256676"/>
                    <a:pt x="0" y="234528"/>
                    <a:pt x="0" y="211194"/>
                  </a:cubicBezTo>
                  <a:lnTo>
                    <a:pt x="0" y="45482"/>
                  </a:lnTo>
                  <a:cubicBezTo>
                    <a:pt x="0" y="22543"/>
                    <a:pt x="23334" y="0"/>
                    <a:pt x="45482" y="0"/>
                  </a:cubicBezTo>
                  <a:lnTo>
                    <a:pt x="289106" y="0"/>
                  </a:lnTo>
                  <a:cubicBezTo>
                    <a:pt x="311254" y="0"/>
                    <a:pt x="334588" y="22148"/>
                    <a:pt x="334588" y="45482"/>
                  </a:cubicBezTo>
                  <a:lnTo>
                    <a:pt x="334588" y="210007"/>
                  </a:lnTo>
                  <a:close/>
                </a:path>
              </a:pathLst>
            </a:custGeom>
            <a:solidFill>
              <a:schemeClr val="bg2"/>
            </a:solidFill>
            <a:ln w="39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AU"/>
            </a:p>
          </p:txBody>
        </p:sp>
        <p:sp>
          <p:nvSpPr>
            <p:cNvPr id="15" name="Freeform: Shape 14">
              <a:extLst>
                <a:ext uri="{FF2B5EF4-FFF2-40B4-BE49-F238E27FC236}">
                  <a16:creationId xmlns:a16="http://schemas.microsoft.com/office/drawing/2014/main" id="{5C0C6837-A343-4DCC-A0C1-6C2F4210501B}"/>
                </a:ext>
              </a:extLst>
            </p:cNvPr>
            <p:cNvSpPr/>
            <p:nvPr userDrawn="1"/>
          </p:nvSpPr>
          <p:spPr>
            <a:xfrm rot="5400000">
              <a:off x="666923" y="985534"/>
              <a:ext cx="316396" cy="237297"/>
            </a:xfrm>
            <a:custGeom>
              <a:avLst/>
              <a:gdLst>
                <a:gd name="connsiteX0" fmla="*/ 206448 w 316395"/>
                <a:gd name="connsiteY0" fmla="*/ 88195 h 237296"/>
                <a:gd name="connsiteX1" fmla="*/ 169667 w 316395"/>
                <a:gd name="connsiteY1" fmla="*/ 56160 h 237296"/>
                <a:gd name="connsiteX2" fmla="*/ 132886 w 316395"/>
                <a:gd name="connsiteY2" fmla="*/ 90964 h 237296"/>
                <a:gd name="connsiteX3" fmla="*/ 132886 w 316395"/>
                <a:gd name="connsiteY3" fmla="*/ 176786 h 237296"/>
                <a:gd name="connsiteX4" fmla="*/ 170063 w 316395"/>
                <a:gd name="connsiteY4" fmla="*/ 206448 h 237296"/>
                <a:gd name="connsiteX5" fmla="*/ 206448 w 316395"/>
                <a:gd name="connsiteY5" fmla="*/ 174018 h 237296"/>
                <a:gd name="connsiteX6" fmla="*/ 206448 w 316395"/>
                <a:gd name="connsiteY6" fmla="*/ 88195 h 237296"/>
                <a:gd name="connsiteX7" fmla="*/ 334984 w 316395"/>
                <a:gd name="connsiteY7" fmla="*/ 210007 h 237296"/>
                <a:gd name="connsiteX8" fmla="*/ 289502 w 316395"/>
                <a:gd name="connsiteY8" fmla="*/ 255489 h 237296"/>
                <a:gd name="connsiteX9" fmla="*/ 278033 w 316395"/>
                <a:gd name="connsiteY9" fmla="*/ 256676 h 237296"/>
                <a:gd name="connsiteX10" fmla="*/ 45482 w 316395"/>
                <a:gd name="connsiteY10" fmla="*/ 256676 h 237296"/>
                <a:gd name="connsiteX11" fmla="*/ 0 w 316395"/>
                <a:gd name="connsiteY11" fmla="*/ 211194 h 237296"/>
                <a:gd name="connsiteX12" fmla="*/ 0 w 316395"/>
                <a:gd name="connsiteY12" fmla="*/ 45482 h 237296"/>
                <a:gd name="connsiteX13" fmla="*/ 45482 w 316395"/>
                <a:gd name="connsiteY13" fmla="*/ 0 h 237296"/>
                <a:gd name="connsiteX14" fmla="*/ 289106 w 316395"/>
                <a:gd name="connsiteY14" fmla="*/ 0 h 237296"/>
                <a:gd name="connsiteX15" fmla="*/ 334588 w 316395"/>
                <a:gd name="connsiteY15" fmla="*/ 45482 h 237296"/>
                <a:gd name="connsiteX16" fmla="*/ 334588 w 316395"/>
                <a:gd name="connsiteY16" fmla="*/ 210007 h 2372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16395" h="237296">
                  <a:moveTo>
                    <a:pt x="206448" y="88195"/>
                  </a:moveTo>
                  <a:cubicBezTo>
                    <a:pt x="206448" y="88195"/>
                    <a:pt x="205657" y="56160"/>
                    <a:pt x="169667" y="56160"/>
                  </a:cubicBezTo>
                  <a:cubicBezTo>
                    <a:pt x="133677" y="56160"/>
                    <a:pt x="132886" y="90964"/>
                    <a:pt x="132886" y="90964"/>
                  </a:cubicBezTo>
                  <a:lnTo>
                    <a:pt x="132886" y="176786"/>
                  </a:lnTo>
                  <a:cubicBezTo>
                    <a:pt x="132886" y="176786"/>
                    <a:pt x="133282" y="206448"/>
                    <a:pt x="170063" y="206448"/>
                  </a:cubicBezTo>
                  <a:cubicBezTo>
                    <a:pt x="206844" y="206448"/>
                    <a:pt x="206448" y="174018"/>
                    <a:pt x="206448" y="174018"/>
                  </a:cubicBezTo>
                  <a:lnTo>
                    <a:pt x="206448" y="88195"/>
                  </a:lnTo>
                  <a:close/>
                  <a:moveTo>
                    <a:pt x="334984" y="210007"/>
                  </a:moveTo>
                  <a:cubicBezTo>
                    <a:pt x="334984" y="232946"/>
                    <a:pt x="311650" y="255489"/>
                    <a:pt x="289502" y="255489"/>
                  </a:cubicBezTo>
                  <a:lnTo>
                    <a:pt x="278033" y="256676"/>
                  </a:lnTo>
                  <a:lnTo>
                    <a:pt x="45482" y="256676"/>
                  </a:lnTo>
                  <a:cubicBezTo>
                    <a:pt x="23334" y="256676"/>
                    <a:pt x="0" y="234528"/>
                    <a:pt x="0" y="211194"/>
                  </a:cubicBezTo>
                  <a:lnTo>
                    <a:pt x="0" y="45482"/>
                  </a:lnTo>
                  <a:cubicBezTo>
                    <a:pt x="0" y="22543"/>
                    <a:pt x="23334" y="0"/>
                    <a:pt x="45482" y="0"/>
                  </a:cubicBezTo>
                  <a:lnTo>
                    <a:pt x="289106" y="0"/>
                  </a:lnTo>
                  <a:cubicBezTo>
                    <a:pt x="311254" y="0"/>
                    <a:pt x="334588" y="22148"/>
                    <a:pt x="334588" y="45482"/>
                  </a:cubicBezTo>
                  <a:lnTo>
                    <a:pt x="334588" y="210007"/>
                  </a:lnTo>
                  <a:close/>
                </a:path>
              </a:pathLst>
            </a:custGeom>
            <a:solidFill>
              <a:schemeClr val="bg2"/>
            </a:solidFill>
            <a:ln w="393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AU"/>
            </a:p>
          </p:txBody>
        </p:sp>
      </p:grpSp>
    </p:spTree>
    <p:extLst>
      <p:ext uri="{BB962C8B-B14F-4D97-AF65-F5344CB8AC3E}">
        <p14:creationId xmlns:p14="http://schemas.microsoft.com/office/powerpoint/2010/main" val="1456731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3227">
          <p15:clr>
            <a:srgbClr val="FBAE40"/>
          </p15:clr>
        </p15:guide>
        <p15:guide id="4" orient="horz" pos="3956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over - Image/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50824F02-0181-44BD-9ABC-EEC74F15F8B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lIns="72000" tIns="72000" rIns="72000" bIns="72000"/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0131425" algn="l"/>
              </a:tabLst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/>
              <a:t>Click on the icon to insert picture</a:t>
            </a:r>
            <a:br>
              <a:rPr lang="en-AU"/>
            </a:br>
            <a:r>
              <a:rPr lang="en-AU"/>
              <a:t>Right click on the picture and send to back</a:t>
            </a:r>
            <a:br>
              <a:rPr lang="en-AU"/>
            </a:br>
            <a:r>
              <a:rPr lang="en-AU"/>
              <a:t>Delete if not in use</a:t>
            </a:r>
          </a:p>
          <a:p>
            <a:endParaRPr lang="en-AU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0F452250-356C-4D44-B098-759ACB8C5A5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7459" y="682683"/>
            <a:ext cx="2056571" cy="909637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94DBA2E6-22A7-4651-9E57-13FAFDF79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59005" y="1984917"/>
            <a:ext cx="7288702" cy="4030121"/>
          </a:xfrm>
          <a:prstGeom prst="rect">
            <a:avLst/>
          </a:prstGeom>
        </p:spPr>
        <p:txBody>
          <a:bodyPr anchor="b"/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lang="en-US" sz="6000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80000"/>
              </a:lnSpc>
              <a:spcBef>
                <a:spcPts val="3600"/>
              </a:spcBef>
              <a:buFont typeface="Arial" panose="020B0604020202020204" pitchFamily="34" charset="0"/>
              <a:buNone/>
              <a:defRPr lang="en-US" sz="2200" kern="1200" cap="none" dirty="0" smtClean="0">
                <a:solidFill>
                  <a:schemeClr val="bg1"/>
                </a:solidFill>
                <a:latin typeface="Segoe UI" panose="020B0502040204020203" pitchFamily="34" charset="0"/>
                <a:ea typeface="+mn-ea"/>
                <a:cs typeface="Segoe UI" panose="020B0502040204020203" pitchFamily="34" charset="0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EB72B18-B28C-4321-912E-912108500E3A}"/>
              </a:ext>
            </a:extLst>
          </p:cNvPr>
          <p:cNvSpPr txBox="1"/>
          <p:nvPr userDrawn="1"/>
        </p:nvSpPr>
        <p:spPr>
          <a:xfrm>
            <a:off x="-2348038" y="761931"/>
            <a:ext cx="2238212" cy="307007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spcBef>
                <a:spcPts val="300"/>
              </a:spcBef>
            </a:pPr>
            <a:r>
              <a:rPr lang="en-AU" sz="1200" b="1"/>
              <a:t>Insert a new slide layout</a:t>
            </a:r>
          </a:p>
          <a:p>
            <a:pPr>
              <a:spcBef>
                <a:spcPts val="300"/>
              </a:spcBef>
            </a:pPr>
            <a:r>
              <a:rPr lang="en-AU" sz="1200"/>
              <a:t>When inserting a new slide layout always go</a:t>
            </a:r>
            <a:r>
              <a:rPr lang="en-AU" sz="1200" baseline="0"/>
              <a:t> to the Home tab and choose New slide &gt; select layout.</a:t>
            </a:r>
          </a:p>
          <a:p>
            <a:pPr>
              <a:spcBef>
                <a:spcPts val="300"/>
              </a:spcBef>
            </a:pPr>
            <a:endParaRPr lang="en-AU" sz="1200" baseline="0"/>
          </a:p>
          <a:p>
            <a:pPr>
              <a:spcBef>
                <a:spcPts val="300"/>
              </a:spcBef>
            </a:pPr>
            <a:r>
              <a:rPr lang="en-AU" sz="1200" baseline="0"/>
              <a:t>You can also right click on a slide and select a layout but note that some slides (Divider slides for instance) do not contain footers and if you select to apply a regular layout on a Divider Slide layout, the footers will appear as loose text boxes on top of the slide. Simply delete, or choose a more appropriate layout (that contains footers)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A2AB04C-0DB1-47FC-BF3B-67C8E2921CA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21123" y="6287015"/>
            <a:ext cx="829502" cy="3715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222979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Cover - Horizontal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A0F8E89-F585-4AC9-84C0-E54DD1208C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4394" y="537737"/>
            <a:ext cx="2051400" cy="918748"/>
          </a:xfrm>
          <a:prstGeom prst="rect">
            <a:avLst/>
          </a:prstGeom>
        </p:spPr>
      </p:pic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94DBA2E6-22A7-4651-9E57-13FAFDF79D5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43770" y="5054423"/>
            <a:ext cx="7034428" cy="1160029"/>
          </a:xfrm>
          <a:prstGeom prst="rect">
            <a:avLst/>
          </a:prstGeom>
        </p:spPr>
        <p:txBody>
          <a:bodyPr anchor="b">
            <a:normAutofit/>
          </a:bodyPr>
          <a:lstStyle>
            <a:lvl1pPr algn="l" defTabSz="914400" rtl="0" eaLnBrk="1" latinLnBrk="0" hangingPunct="1">
              <a:lnSpc>
                <a:spcPct val="70000"/>
              </a:lnSpc>
              <a:spcBef>
                <a:spcPct val="0"/>
              </a:spcBef>
              <a:buNone/>
              <a:defRPr lang="en-US" sz="4000" kern="1200" cap="none" baseline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80000"/>
              </a:lnSpc>
              <a:spcBef>
                <a:spcPts val="3600"/>
              </a:spcBef>
              <a:buFont typeface="Arial" panose="020B0604020202020204" pitchFamily="34" charset="0"/>
              <a:buNone/>
              <a:defRPr lang="en-US" sz="2200" kern="1200" dirty="0" smtClean="0">
                <a:solidFill>
                  <a:schemeClr val="accent1"/>
                </a:solidFill>
                <a:latin typeface="+mn-lt"/>
                <a:ea typeface="+mn-ea"/>
                <a:cs typeface="Segoe UI Semibold" panose="020B0702040204020203" pitchFamily="34" charset="0"/>
              </a:defRPr>
            </a:lvl2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CDCCCD0-04A3-4428-BE29-DBF73D1F57E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059763" y="5414532"/>
            <a:ext cx="3174864" cy="741362"/>
          </a:xfrm>
          <a:prstGeom prst="rect">
            <a:avLst/>
          </a:prstGeom>
        </p:spPr>
        <p:txBody>
          <a:bodyPr anchor="b"/>
          <a:lstStyle>
            <a:lvl1pPr algn="r">
              <a:spcBef>
                <a:spcPts val="0"/>
              </a:spcBef>
              <a:defRPr>
                <a:solidFill>
                  <a:srgbClr val="9DC193"/>
                </a:solidFill>
                <a:latin typeface="+mj-lt"/>
              </a:defRPr>
            </a:lvl1pPr>
            <a:lvl2pPr marL="0" indent="0" algn="r">
              <a:spcBef>
                <a:spcPts val="0"/>
              </a:spcBef>
              <a:spcAft>
                <a:spcPts val="0"/>
              </a:spcAft>
              <a:buNone/>
              <a:defRPr>
                <a:solidFill>
                  <a:srgbClr val="9DC19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Picture Placeholder 15">
            <a:extLst>
              <a:ext uri="{FF2B5EF4-FFF2-40B4-BE49-F238E27FC236}">
                <a16:creationId xmlns:a16="http://schemas.microsoft.com/office/drawing/2014/main" id="{714B1DB2-75EA-49C2-99B5-F0937B7BAF0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943770" y="1198359"/>
            <a:ext cx="10304460" cy="3732192"/>
          </a:xfrm>
          <a:prstGeom prst="rect">
            <a:avLst/>
          </a:prstGeom>
          <a:solidFill>
            <a:schemeClr val="bg2"/>
          </a:solidFill>
        </p:spPr>
        <p:txBody>
          <a:bodyPr lIns="72000" tIns="72000" rIns="72000" bIns="72000"/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0131425" algn="l"/>
              </a:tabLst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/>
              <a:t>Click on the icon to insert picture</a:t>
            </a:r>
            <a:br>
              <a:rPr lang="en-AU"/>
            </a:b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405177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20">
          <p15:clr>
            <a:srgbClr val="FBAE40"/>
          </p15:clr>
        </p15:guide>
        <p15:guide id="2" orient="horz" pos="701">
          <p15:clr>
            <a:srgbClr val="FBAE40"/>
          </p15:clr>
        </p15:guide>
        <p15:guide id="3" orient="horz" pos="3227">
          <p15:clr>
            <a:srgbClr val="FBAE40"/>
          </p15:clr>
        </p15:guide>
        <p15:guide id="4" orient="horz" pos="395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genda - 8 item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36201FF-69EF-4381-9B87-0FF54AC1E7B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E266AF-210D-4B9E-92F6-EF999B290F31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25" name="Text Placeholder 6">
            <a:extLst>
              <a:ext uri="{FF2B5EF4-FFF2-40B4-BE49-F238E27FC236}">
                <a16:creationId xmlns:a16="http://schemas.microsoft.com/office/drawing/2014/main" id="{EED74637-0AAE-49B0-AF74-2D2879D4FE9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38200" y="2220008"/>
            <a:ext cx="2430294" cy="430887"/>
          </a:xfrm>
          <a:solidFill>
            <a:schemeClr val="bg1"/>
          </a:solidFill>
          <a:effectLst>
            <a:outerShdw dist="12700" dir="5400000" algn="ctr" rotWithShape="0">
              <a:schemeClr val="bg2"/>
            </a:outerShdw>
          </a:effectLst>
        </p:spPr>
        <p:txBody>
          <a:bodyPr anchor="b">
            <a:noAutofit/>
          </a:bodyPr>
          <a:lstStyle>
            <a:lvl1pPr>
              <a:defRPr sz="2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AU"/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D6ACF8A1-EAE2-49E1-BF09-C006EE66966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8200" y="2713708"/>
            <a:ext cx="2430294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ection heading</a:t>
            </a:r>
            <a:endParaRPr lang="en-AU"/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837A987B-FCED-4C24-9EE5-BC0CB41C790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32773" y="2220008"/>
            <a:ext cx="2430294" cy="430887"/>
          </a:xfrm>
          <a:solidFill>
            <a:schemeClr val="bg1"/>
          </a:solidFill>
          <a:effectLst>
            <a:outerShdw dist="12700" dir="5400000" algn="ctr" rotWithShape="0">
              <a:schemeClr val="bg2"/>
            </a:outerShdw>
          </a:effectLst>
        </p:spPr>
        <p:txBody>
          <a:bodyPr anchor="b">
            <a:noAutofit/>
          </a:bodyPr>
          <a:lstStyle>
            <a:lvl1pPr>
              <a:defRPr sz="28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AU"/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93E06C38-04CF-46C3-A522-3F6B8113E3C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32773" y="2713708"/>
            <a:ext cx="2430294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ection heading</a:t>
            </a:r>
            <a:endParaRPr lang="en-AU"/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27F8CD91-2C94-49C5-99BC-98546FB4153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27346" y="2220008"/>
            <a:ext cx="2430294" cy="430887"/>
          </a:xfrm>
          <a:solidFill>
            <a:schemeClr val="bg1"/>
          </a:solidFill>
          <a:effectLst>
            <a:outerShdw dist="12700" dir="5400000" algn="ctr" rotWithShape="0">
              <a:schemeClr val="bg2"/>
            </a:outerShdw>
          </a:effectLst>
        </p:spPr>
        <p:txBody>
          <a:bodyPr anchor="b">
            <a:noAutofit/>
          </a:bodyPr>
          <a:lstStyle>
            <a:lvl1pPr>
              <a:defRPr sz="2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AU"/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93EAB1A6-0CB4-408B-80A1-CF3DF377D68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227346" y="2713708"/>
            <a:ext cx="2430294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ection heading</a:t>
            </a:r>
            <a:endParaRPr lang="en-AU"/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DB8725C3-A86E-4F44-B050-FA2EBF56D4F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21919" y="2220008"/>
            <a:ext cx="2430294" cy="430887"/>
          </a:xfrm>
          <a:solidFill>
            <a:schemeClr val="bg1"/>
          </a:solidFill>
          <a:effectLst>
            <a:outerShdw dist="12700" dir="5400000" algn="ctr" rotWithShape="0">
              <a:schemeClr val="bg2"/>
            </a:outerShdw>
          </a:effectLst>
        </p:spPr>
        <p:txBody>
          <a:bodyPr anchor="b">
            <a:noAutofit/>
          </a:bodyPr>
          <a:lstStyle>
            <a:lvl1pPr>
              <a:defRPr sz="28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AU"/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847474C7-1567-455E-8F0B-1FD540C0CBD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921919" y="2713708"/>
            <a:ext cx="2430294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ection heading</a:t>
            </a:r>
            <a:endParaRPr lang="en-AU"/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8F451E7-AAE5-4570-BEED-C11F1865936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8200" y="3887759"/>
            <a:ext cx="2430294" cy="430887"/>
          </a:xfrm>
          <a:solidFill>
            <a:schemeClr val="bg1"/>
          </a:solidFill>
          <a:effectLst>
            <a:outerShdw dist="12700" dir="5400000" algn="ctr" rotWithShape="0">
              <a:schemeClr val="bg2"/>
            </a:outerShdw>
          </a:effectLst>
        </p:spPr>
        <p:txBody>
          <a:bodyPr anchor="b">
            <a:noAutofit/>
          </a:bodyPr>
          <a:lstStyle>
            <a:lvl1pPr>
              <a:defRPr sz="28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AU"/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1501EAB7-BD55-47EC-BD75-D1958264D51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8200" y="4381459"/>
            <a:ext cx="2430294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ection heading</a:t>
            </a:r>
            <a:endParaRPr lang="en-AU"/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5BA28097-D908-4BD0-AE92-3CBF40055B5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3532773" y="3887759"/>
            <a:ext cx="2430294" cy="430887"/>
          </a:xfrm>
          <a:solidFill>
            <a:schemeClr val="bg1"/>
          </a:solidFill>
          <a:effectLst>
            <a:outerShdw dist="12700" dir="5400000" algn="ctr" rotWithShape="0">
              <a:schemeClr val="bg2"/>
            </a:outerShdw>
          </a:effectLst>
        </p:spPr>
        <p:txBody>
          <a:bodyPr anchor="b">
            <a:noAutofit/>
          </a:bodyPr>
          <a:lstStyle>
            <a:lvl1pPr>
              <a:defRPr sz="2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AU"/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6912D03C-A7C7-49B9-A13D-D87256AA24E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532773" y="4381459"/>
            <a:ext cx="2430294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ection heading</a:t>
            </a:r>
            <a:endParaRPr lang="en-AU"/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F831329C-A175-45E6-BC38-9539D15016A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27346" y="3887759"/>
            <a:ext cx="2430294" cy="430887"/>
          </a:xfrm>
          <a:solidFill>
            <a:schemeClr val="bg1"/>
          </a:solidFill>
          <a:effectLst>
            <a:outerShdw dist="12700" dir="5400000" algn="ctr" rotWithShape="0">
              <a:schemeClr val="bg2"/>
            </a:outerShdw>
          </a:effectLst>
        </p:spPr>
        <p:txBody>
          <a:bodyPr anchor="b">
            <a:noAutofit/>
          </a:bodyPr>
          <a:lstStyle>
            <a:lvl1pPr>
              <a:defRPr sz="2800">
                <a:solidFill>
                  <a:schemeClr val="accent3"/>
                </a:solidFill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AU"/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866C51A-B898-4533-AE2F-920E3851359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27346" y="4381459"/>
            <a:ext cx="2430294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ection heading</a:t>
            </a:r>
            <a:endParaRPr lang="en-AU"/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38A23A8D-B66A-480D-9D2D-3E7D2789CCB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921919" y="3887759"/>
            <a:ext cx="2430294" cy="430887"/>
          </a:xfrm>
          <a:solidFill>
            <a:schemeClr val="bg1"/>
          </a:solidFill>
          <a:effectLst>
            <a:outerShdw dist="12700" dir="5400000" algn="ctr" rotWithShape="0">
              <a:schemeClr val="bg2"/>
            </a:outerShdw>
          </a:effectLst>
        </p:spPr>
        <p:txBody>
          <a:bodyPr anchor="b">
            <a:noAutofit/>
          </a:bodyPr>
          <a:lstStyle>
            <a:lvl1pPr>
              <a:defRPr sz="280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en-US"/>
              <a:t>0.</a:t>
            </a:r>
            <a:endParaRPr lang="en-AU"/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CF27AB35-CF4C-40EA-BD72-5AE1F375034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921919" y="4381459"/>
            <a:ext cx="2430294" cy="307777"/>
          </a:xfrm>
        </p:spPr>
        <p:txBody>
          <a:bodyPr>
            <a:spAutoFit/>
          </a:bodyPr>
          <a:lstStyle>
            <a:lvl1pPr>
              <a:defRPr>
                <a:solidFill>
                  <a:schemeClr val="tx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Section heading</a:t>
            </a:r>
            <a:endParaRPr lang="en-AU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ED3CDA1B-3F14-4F59-ADBF-230AD3DAA0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8AFB0DF-C129-4CDB-A806-7DDC762E8B7D}"/>
              </a:ext>
            </a:extLst>
          </p:cNvPr>
          <p:cNvSpPr>
            <a:spLocks noGrp="1"/>
          </p:cNvSpPr>
          <p:nvPr>
            <p:ph type="ftr" sz="quarter" idx="31"/>
          </p:nvPr>
        </p:nvSpPr>
        <p:spPr/>
        <p:txBody>
          <a:bodyPr/>
          <a:lstStyle/>
          <a:p>
            <a:r>
              <a:rPr lang="en-AU"/>
              <a:t>MACHC20-07.5 - 5 Dec 2019</a:t>
            </a:r>
          </a:p>
        </p:txBody>
      </p:sp>
    </p:spTree>
    <p:extLst>
      <p:ext uri="{BB962C8B-B14F-4D97-AF65-F5344CB8AC3E}">
        <p14:creationId xmlns:p14="http://schemas.microsoft.com/office/powerpoint/2010/main" val="149561743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Quote - 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94DBA2E6-22A7-4651-9E57-13FAFDF79D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51408" y="3458796"/>
            <a:ext cx="8977067" cy="1291498"/>
          </a:xfrm>
          <a:prstGeom prst="rect">
            <a:avLst/>
          </a:prstGeom>
        </p:spPr>
        <p:txBody>
          <a:bodyPr wrap="square" tIns="7200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1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80000"/>
              </a:lnSpc>
              <a:spcBef>
                <a:spcPts val="3600"/>
              </a:spcBef>
              <a:buFont typeface="Arial" panose="020B0604020202020204" pitchFamily="34" charset="0"/>
              <a:buNone/>
              <a:defRPr lang="en-US" sz="2200" kern="1200" dirty="0" smtClean="0">
                <a:solidFill>
                  <a:schemeClr val="bg1"/>
                </a:solidFill>
                <a:latin typeface="+mn-lt"/>
                <a:ea typeface="+mn-ea"/>
                <a:cs typeface="Segoe UI Semibold" panose="020B0702040204020203" pitchFamily="34" charset="0"/>
              </a:defRPr>
            </a:lvl2pPr>
          </a:lstStyle>
          <a:p>
            <a:pPr lvl="0"/>
            <a:r>
              <a:rPr lang="en-US"/>
              <a:t>Move up and down or delete quotation mark as needed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49BD6C4-D1A6-45EB-A778-99AEC9DD3449}"/>
              </a:ext>
            </a:extLst>
          </p:cNvPr>
          <p:cNvCxnSpPr>
            <a:cxnSpLocks/>
          </p:cNvCxnSpPr>
          <p:nvPr/>
        </p:nvCxnSpPr>
        <p:spPr>
          <a:xfrm>
            <a:off x="1351156" y="5059979"/>
            <a:ext cx="718226" cy="0"/>
          </a:xfrm>
          <a:prstGeom prst="line">
            <a:avLst/>
          </a:prstGeom>
          <a:ln w="28575">
            <a:solidFill>
              <a:srgbClr val="92C09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D30A8C-B1D5-40FF-9B6F-23D0DE4EAE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363915" y="5368925"/>
            <a:ext cx="8977067" cy="4302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B3084B8-6AB8-4793-8C29-A7FB2C8A8F3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23581" y="6287016"/>
            <a:ext cx="828632" cy="371503"/>
          </a:xfrm>
          <a:prstGeom prst="rect">
            <a:avLst/>
          </a:prstGeom>
        </p:spPr>
      </p:pic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676260BC-A4ED-4D3D-A409-E2022E7A73C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63915" y="1968183"/>
            <a:ext cx="869556" cy="724630"/>
          </a:xfrm>
          <a:prstGeom prst="rect">
            <a:avLst/>
          </a:pr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449484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orizontal Image - 3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067385F-41C1-4706-8CDC-FEED9D49DB3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4305300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AU"/>
              <a:t>Click on the icon to insert picture</a:t>
            </a:r>
            <a:br>
              <a:rPr lang="en-AU"/>
            </a:br>
            <a:r>
              <a:rPr lang="en-AU"/>
              <a:t>Right click on the picture and send to back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36201FF-69EF-4381-9B87-0FF54AC1E7B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E266AF-210D-4B9E-92F6-EF999B290F31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D7A7F69-CE6B-4C0C-BCF4-78359292F8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8" name="Text Placeholder 10">
            <a:extLst>
              <a:ext uri="{FF2B5EF4-FFF2-40B4-BE49-F238E27FC236}">
                <a16:creationId xmlns:a16="http://schemas.microsoft.com/office/drawing/2014/main" id="{5A08BB46-F264-4EE0-ADEC-9C9D0A61629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 flipV="1">
            <a:off x="838200" y="347437"/>
            <a:ext cx="718226" cy="36000"/>
          </a:xfrm>
          <a:prstGeom prst="rect">
            <a:avLst/>
          </a:prstGeom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7BAC39F8-41FA-419D-AEC6-D5E6049F3F41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838199" y="4880473"/>
            <a:ext cx="3241675" cy="1154322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  <a:latin typeface="+mn-lt"/>
              </a:defRPr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2EF3B3C7-2CB6-4275-98C0-DFE27ECBAEC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480719" y="4880473"/>
            <a:ext cx="3241675" cy="1154322"/>
          </a:xfrm>
        </p:spPr>
        <p:txBody>
          <a:bodyPr>
            <a:noAutofit/>
          </a:bodyPr>
          <a:lstStyle>
            <a:lvl1pPr>
              <a:defRPr>
                <a:solidFill>
                  <a:srgbClr val="00ACA9"/>
                </a:solidFill>
                <a:latin typeface="+mn-lt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3C586154-3C72-4216-ABFE-45195DD5864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123238" y="4880473"/>
            <a:ext cx="3241675" cy="1154322"/>
          </a:xfrm>
        </p:spPr>
        <p:txBody>
          <a:bodyPr>
            <a:noAutofit/>
          </a:bodyPr>
          <a:lstStyle>
            <a:lvl1pPr>
              <a:defRPr>
                <a:solidFill>
                  <a:schemeClr val="accent4"/>
                </a:solidFill>
                <a:latin typeface="+mn-lt"/>
              </a:defRPr>
            </a:lvl1pPr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933BD69B-FDCF-4964-BB72-3A6DE2C8368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88164" y="6265776"/>
            <a:ext cx="9042622" cy="161583"/>
          </a:xfrm>
          <a:prstGeom prst="rect">
            <a:avLst/>
          </a:prstGeom>
          <a:solidFill>
            <a:schemeClr val="bg1"/>
          </a:solidFill>
          <a:effectLst>
            <a:outerShdw dist="12700" dir="10800000" algn="ctr" rotWithShape="0">
              <a:schemeClr val="tx2">
                <a:lumMod val="50000"/>
                <a:lumOff val="50000"/>
              </a:schemeClr>
            </a:outerShdw>
          </a:effectLst>
        </p:spPr>
        <p:txBody>
          <a:bodyPr vert="horz" wrap="square" lIns="72000" tIns="0" rIns="0" bIns="0" rtlCol="0" anchor="ctr">
            <a:noAutofit/>
          </a:bodyPr>
          <a:lstStyle>
            <a:lvl1pPr>
              <a:defRPr lang="en-AU" sz="1000" smtClean="0">
                <a:solidFill>
                  <a:schemeClr val="tx2"/>
                </a:solidFill>
              </a:defRPr>
            </a:lvl1pPr>
          </a:lstStyle>
          <a:p>
            <a:r>
              <a:rPr lang="en-GB"/>
              <a:t>MACHC20-07.5 - 5 Dec 2019</a:t>
            </a:r>
            <a:endParaRPr lang="en-AU"/>
          </a:p>
        </p:txBody>
      </p:sp>
      <p:sp>
        <p:nvSpPr>
          <p:cNvPr id="20" name="Text Placeholder 24">
            <a:extLst>
              <a:ext uri="{FF2B5EF4-FFF2-40B4-BE49-F238E27FC236}">
                <a16:creationId xmlns:a16="http://schemas.microsoft.com/office/drawing/2014/main" id="{9DBE712F-4A5C-49F2-937B-FB3CD762C10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38200" y="3852863"/>
            <a:ext cx="950913" cy="868362"/>
          </a:xfrm>
          <a:solidFill>
            <a:schemeClr val="accent1"/>
          </a:solidFill>
        </p:spPr>
        <p:txBody>
          <a:bodyPr/>
          <a:lstStyle>
            <a:lvl1pPr>
              <a:defRPr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D35FB657-2110-4D60-8346-6499019A5B91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465638" y="3852863"/>
            <a:ext cx="950913" cy="868362"/>
          </a:xfrm>
          <a:solidFill>
            <a:srgbClr val="00ACA9"/>
          </a:solidFill>
        </p:spPr>
        <p:txBody>
          <a:bodyPr/>
          <a:lstStyle>
            <a:lvl1pPr>
              <a:defRPr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Text Placeholder 24">
            <a:extLst>
              <a:ext uri="{FF2B5EF4-FFF2-40B4-BE49-F238E27FC236}">
                <a16:creationId xmlns:a16="http://schemas.microsoft.com/office/drawing/2014/main" id="{DB464601-F428-4D91-909F-8988E238350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8123238" y="3852863"/>
            <a:ext cx="950913" cy="868362"/>
          </a:xfrm>
          <a:solidFill>
            <a:srgbClr val="9DC193"/>
          </a:solidFill>
        </p:spPr>
        <p:txBody>
          <a:bodyPr/>
          <a:lstStyle>
            <a:lvl1pPr>
              <a:defRPr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Content Placeholder 3">
            <a:extLst>
              <a:ext uri="{FF2B5EF4-FFF2-40B4-BE49-F238E27FC236}">
                <a16:creationId xmlns:a16="http://schemas.microsoft.com/office/drawing/2014/main" id="{0A401C79-4AC8-40A8-A407-EE3AF40DF52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1025656" y="3999044"/>
            <a:ext cx="576000" cy="576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solidFill>
                  <a:sysClr val="windowText" lastClr="000000">
                    <a:alpha val="0"/>
                  </a:sysClr>
                </a:solidFill>
              </a:defRPr>
            </a:lvl1pPr>
          </a:lstStyle>
          <a:p>
            <a:pPr lvl="0"/>
            <a:endParaRPr lang="en-AU"/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0A401C79-4AC8-40A8-A407-EE3AF40DF522}"/>
              </a:ext>
            </a:extLst>
          </p:cNvPr>
          <p:cNvSpPr>
            <a:spLocks noGrp="1"/>
          </p:cNvSpPr>
          <p:nvPr>
            <p:ph sz="quarter" idx="29"/>
          </p:nvPr>
        </p:nvSpPr>
        <p:spPr>
          <a:xfrm>
            <a:off x="4653094" y="3999044"/>
            <a:ext cx="576000" cy="576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solidFill>
                  <a:sysClr val="windowText" lastClr="000000">
                    <a:alpha val="0"/>
                  </a:sysClr>
                </a:solidFill>
              </a:defRPr>
            </a:lvl1pPr>
          </a:lstStyle>
          <a:p>
            <a:pPr lvl="0"/>
            <a:endParaRPr lang="en-AU"/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0A401C79-4AC8-40A8-A407-EE3AF40DF522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8310694" y="3999044"/>
            <a:ext cx="576000" cy="576000"/>
          </a:xfrm>
          <a:prstGeom prst="rect">
            <a:avLst/>
          </a:prstGeom>
          <a:noFill/>
        </p:spPr>
        <p:txBody>
          <a:bodyPr/>
          <a:lstStyle>
            <a:lvl1pPr>
              <a:defRPr>
                <a:solidFill>
                  <a:sysClr val="windowText" lastClr="000000">
                    <a:alpha val="0"/>
                  </a:sysClr>
                </a:solidFill>
              </a:defRPr>
            </a:lvl1pPr>
          </a:lstStyle>
          <a:p>
            <a:pPr lvl="0"/>
            <a:endParaRPr lang="en-AU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DDA3F40-7CFC-4FF3-AC05-61CD8C8E7B6C}"/>
              </a:ext>
            </a:extLst>
          </p:cNvPr>
          <p:cNvSpPr txBox="1"/>
          <p:nvPr userDrawn="1"/>
        </p:nvSpPr>
        <p:spPr>
          <a:xfrm>
            <a:off x="-2540000" y="733476"/>
            <a:ext cx="2436794" cy="377795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spcBef>
                <a:spcPts val="300"/>
              </a:spcBef>
            </a:pPr>
            <a:r>
              <a:rPr lang="en-AU" sz="1200" b="1"/>
              <a:t>Inserting Icons</a:t>
            </a:r>
          </a:p>
          <a:p>
            <a:pPr>
              <a:spcBef>
                <a:spcPts val="300"/>
              </a:spcBef>
            </a:pPr>
            <a:r>
              <a:rPr lang="en-AU" sz="1200"/>
              <a:t>The placeholders inside the squares are designed to house icons. </a:t>
            </a:r>
          </a:p>
          <a:p>
            <a:pPr marL="228600" indent="-228600">
              <a:spcBef>
                <a:spcPts val="300"/>
              </a:spcBef>
              <a:buFont typeface="+mj-lt"/>
              <a:buAutoNum type="arabicPeriod"/>
            </a:pPr>
            <a:r>
              <a:rPr lang="en-AU" sz="1200"/>
              <a:t>copy (</a:t>
            </a:r>
            <a:r>
              <a:rPr lang="en-AU" sz="1200" err="1"/>
              <a:t>crtl</a:t>
            </a:r>
            <a:r>
              <a:rPr lang="en-AU" sz="1200"/>
              <a:t> + C) an icon from the assets section of this document </a:t>
            </a:r>
          </a:p>
          <a:p>
            <a:pPr marL="228600" indent="-228600">
              <a:spcBef>
                <a:spcPts val="300"/>
              </a:spcBef>
              <a:buFont typeface="+mj-lt"/>
              <a:buAutoNum type="arabicPeriod"/>
            </a:pPr>
            <a:r>
              <a:rPr lang="en-AU" sz="1200"/>
              <a:t>click on the inner bounding box (</a:t>
            </a:r>
            <a:r>
              <a:rPr lang="en-AU" sz="1200" err="1"/>
              <a:t>ie</a:t>
            </a:r>
            <a:r>
              <a:rPr lang="en-AU" sz="1200"/>
              <a:t> not the coloured box) and paste (ctrl + V) it in. The icon will automatically resize to the size of the placeholder. Note: do not make them too large as reduction in quality will occur with the icons.</a:t>
            </a:r>
          </a:p>
          <a:p>
            <a:pPr marL="228600" indent="-228600">
              <a:spcBef>
                <a:spcPts val="300"/>
              </a:spcBef>
              <a:buFont typeface="+mj-lt"/>
              <a:buAutoNum type="arabicPeriod"/>
            </a:pPr>
            <a:endParaRPr lang="en-AU" sz="1200"/>
          </a:p>
          <a:p>
            <a:pPr>
              <a:spcBef>
                <a:spcPts val="300"/>
              </a:spcBef>
            </a:pPr>
            <a:r>
              <a:rPr lang="en-AU" sz="1200"/>
              <a:t>Icon box colours can be changed by selecting them and using the ‘shape fill’ function.</a:t>
            </a:r>
          </a:p>
          <a:p>
            <a:pPr>
              <a:spcBef>
                <a:spcPts val="300"/>
              </a:spcBef>
            </a:pPr>
            <a:endParaRPr lang="en-AU" sz="1200"/>
          </a:p>
          <a:p>
            <a:pPr>
              <a:spcBef>
                <a:spcPts val="300"/>
              </a:spcBef>
            </a:pPr>
            <a:r>
              <a:rPr lang="en-AU" sz="1200"/>
              <a:t>Please only use icons on coloured box backgrounds provided.</a:t>
            </a:r>
          </a:p>
        </p:txBody>
      </p:sp>
    </p:spTree>
    <p:extLst>
      <p:ext uri="{BB962C8B-B14F-4D97-AF65-F5344CB8AC3E}">
        <p14:creationId xmlns:p14="http://schemas.microsoft.com/office/powerpoint/2010/main" val="38057470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886">
          <p15:clr>
            <a:srgbClr val="FBAE40"/>
          </p15:clr>
        </p15:guide>
        <p15:guide id="2" orient="horz" pos="2720">
          <p15:clr>
            <a:srgbClr val="FBAE40"/>
          </p15:clr>
        </p15:guide>
        <p15:guide id="3" pos="5117">
          <p15:clr>
            <a:srgbClr val="FBAE40"/>
          </p15:clr>
        </p15:guide>
        <p15:guide id="4" pos="2570">
          <p15:clr>
            <a:srgbClr val="FBAE40"/>
          </p15:clr>
        </p15:guide>
        <p15:guide id="5" pos="2813">
          <p15:clr>
            <a:srgbClr val="FBAE40"/>
          </p15:clr>
        </p15:guide>
        <p15:guide id="6" pos="4865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break - Image/G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79CEDA4B-E09F-4F97-913F-2385AB283C5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7151" y="537736"/>
            <a:ext cx="2031058" cy="909637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9C62D088-677D-4B9E-A341-D599DDCF1968}"/>
              </a:ext>
            </a:extLst>
          </p:cNvPr>
          <p:cNvGrpSpPr/>
          <p:nvPr/>
        </p:nvGrpSpPr>
        <p:grpSpPr>
          <a:xfrm>
            <a:off x="-2878934" y="2864682"/>
            <a:ext cx="2685426" cy="3972150"/>
            <a:chOff x="-3213913" y="2727414"/>
            <a:chExt cx="2685426" cy="3972150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81870783-AE61-4A6F-A503-64EE030B34F2}"/>
                </a:ext>
              </a:extLst>
            </p:cNvPr>
            <p:cNvGrpSpPr/>
            <p:nvPr/>
          </p:nvGrpSpPr>
          <p:grpSpPr>
            <a:xfrm>
              <a:off x="-3213913" y="2727414"/>
              <a:ext cx="2685426" cy="3972150"/>
              <a:chOff x="-3171151" y="1910451"/>
              <a:chExt cx="2685426" cy="3972150"/>
            </a:xfrm>
          </p:grpSpPr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C2E2979-4C8A-4382-AC60-7AA37B6F7915}"/>
                  </a:ext>
                </a:extLst>
              </p:cNvPr>
              <p:cNvSpPr txBox="1"/>
              <p:nvPr/>
            </p:nvSpPr>
            <p:spPr>
              <a:xfrm>
                <a:off x="-3171151" y="1910451"/>
                <a:ext cx="2685425" cy="15696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AU" sz="1200">
                    <a:latin typeface="+mj-lt"/>
                  </a:rPr>
                  <a:t>To change section numbers:</a:t>
                </a:r>
              </a:p>
              <a:p>
                <a:r>
                  <a:rPr lang="en-AU" sz="1200"/>
                  <a:t>Under the home menu in the ribbon, in the paragraph section 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AU" sz="1200"/>
                  <a:t>click on the drop down </a:t>
                </a:r>
                <a:br>
                  <a:rPr lang="en-AU" sz="1200"/>
                </a:br>
                <a:r>
                  <a:rPr lang="en-AU" sz="1200"/>
                  <a:t>arrow in ‘numbering’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AU" sz="1200"/>
                  <a:t>Select ‘ bullets and numbering’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AU" sz="1200"/>
                  <a:t>Use the arrows to change the starting number</a:t>
                </a:r>
              </a:p>
            </p:txBody>
          </p:sp>
          <p:pic>
            <p:nvPicPr>
              <p:cNvPr id="11" name="Picture 10">
                <a:extLst>
                  <a:ext uri="{FF2B5EF4-FFF2-40B4-BE49-F238E27FC236}">
                    <a16:creationId xmlns:a16="http://schemas.microsoft.com/office/drawing/2014/main" id="{4FADC299-9D73-4378-8685-7AA568051F5D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1484"/>
              <a:stretch/>
            </p:blipFill>
            <p:spPr>
              <a:xfrm>
                <a:off x="-3171150" y="3510960"/>
                <a:ext cx="2685425" cy="237164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2787472E-40D7-41A4-A982-885F3602FE7E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-1207427" y="2529854"/>
                <a:ext cx="361950" cy="276225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F04C6E6-4C6D-4DD2-B635-1FB94ED2615D}"/>
                </a:ext>
              </a:extLst>
            </p:cNvPr>
            <p:cNvSpPr/>
            <p:nvPr/>
          </p:nvSpPr>
          <p:spPr>
            <a:xfrm>
              <a:off x="-3213913" y="4327923"/>
              <a:ext cx="2685425" cy="2371641"/>
            </a:xfrm>
            <a:custGeom>
              <a:avLst/>
              <a:gdLst>
                <a:gd name="connsiteX0" fmla="*/ 1769003 w 2685425"/>
                <a:gd name="connsiteY0" fmla="*/ 1701685 h 2371641"/>
                <a:gd name="connsiteX1" fmla="*/ 1769003 w 2685425"/>
                <a:gd name="connsiteY1" fmla="*/ 1900861 h 2371641"/>
                <a:gd name="connsiteX2" fmla="*/ 2571117 w 2685425"/>
                <a:gd name="connsiteY2" fmla="*/ 1900861 h 2371641"/>
                <a:gd name="connsiteX3" fmla="*/ 2571117 w 2685425"/>
                <a:gd name="connsiteY3" fmla="*/ 1701685 h 2371641"/>
                <a:gd name="connsiteX4" fmla="*/ 0 w 2685425"/>
                <a:gd name="connsiteY4" fmla="*/ 0 h 2371641"/>
                <a:gd name="connsiteX5" fmla="*/ 2685425 w 2685425"/>
                <a:gd name="connsiteY5" fmla="*/ 0 h 2371641"/>
                <a:gd name="connsiteX6" fmla="*/ 2685425 w 2685425"/>
                <a:gd name="connsiteY6" fmla="*/ 2371641 h 2371641"/>
                <a:gd name="connsiteX7" fmla="*/ 0 w 2685425"/>
                <a:gd name="connsiteY7" fmla="*/ 2371641 h 237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85425" h="2371641">
                  <a:moveTo>
                    <a:pt x="1769003" y="1701685"/>
                  </a:moveTo>
                  <a:lnTo>
                    <a:pt x="1769003" y="1900861"/>
                  </a:lnTo>
                  <a:lnTo>
                    <a:pt x="2571117" y="1900861"/>
                  </a:lnTo>
                  <a:lnTo>
                    <a:pt x="2571117" y="1701685"/>
                  </a:lnTo>
                  <a:close/>
                  <a:moveTo>
                    <a:pt x="0" y="0"/>
                  </a:moveTo>
                  <a:lnTo>
                    <a:pt x="2685425" y="0"/>
                  </a:lnTo>
                  <a:lnTo>
                    <a:pt x="2685425" y="2371641"/>
                  </a:lnTo>
                  <a:lnTo>
                    <a:pt x="0" y="2371641"/>
                  </a:lnTo>
                  <a:close/>
                </a:path>
              </a:pathLst>
            </a:custGeom>
            <a:solidFill>
              <a:schemeClr val="accent1">
                <a:alpha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</p:grpSp>
      <p:sp>
        <p:nvSpPr>
          <p:cNvPr id="20" name="Rectangle 19">
            <a:extLst>
              <a:ext uri="{FF2B5EF4-FFF2-40B4-BE49-F238E27FC236}">
                <a16:creationId xmlns:a16="http://schemas.microsoft.com/office/drawing/2014/main" id="{1424256C-838A-4794-87E8-7E1D5419EF5C}"/>
              </a:ext>
            </a:extLst>
          </p:cNvPr>
          <p:cNvSpPr/>
          <p:nvPr userDrawn="1"/>
        </p:nvSpPr>
        <p:spPr>
          <a:xfrm>
            <a:off x="5626358" y="1746017"/>
            <a:ext cx="6565642" cy="3834882"/>
          </a:xfrm>
          <a:prstGeom prst="rect">
            <a:avLst/>
          </a:prstGeom>
          <a:solidFill>
            <a:srgbClr val="8CB6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1" name="Picture Placeholder 15">
            <a:extLst>
              <a:ext uri="{FF2B5EF4-FFF2-40B4-BE49-F238E27FC236}">
                <a16:creationId xmlns:a16="http://schemas.microsoft.com/office/drawing/2014/main" id="{92C836BD-4F69-4E96-8A08-CF679889E5E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1746018"/>
            <a:ext cx="5626358" cy="3834882"/>
          </a:xfrm>
          <a:prstGeom prst="rect">
            <a:avLst/>
          </a:prstGeom>
          <a:solidFill>
            <a:schemeClr val="bg2"/>
          </a:solidFill>
        </p:spPr>
        <p:txBody>
          <a:bodyPr lIns="72000" tIns="72000" rIns="72000" bIns="72000"/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0131425" algn="l"/>
              </a:tabLst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/>
              <a:t>Click on the icon to insert picture</a:t>
            </a:r>
            <a:br>
              <a:rPr lang="en-AU"/>
            </a:br>
            <a:endParaRPr lang="en-AU"/>
          </a:p>
        </p:txBody>
      </p:sp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976F072F-B76D-4EC0-B33D-D989155F2F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38247" y="3149316"/>
            <a:ext cx="4741863" cy="1414683"/>
          </a:xfrm>
          <a:prstGeom prst="rect">
            <a:avLst/>
          </a:prstGeom>
        </p:spPr>
        <p:txBody>
          <a:bodyPr anchor="ctr">
            <a:spAutoFit/>
          </a:bodyPr>
          <a:lstStyle>
            <a:lvl1pPr marL="446088" indent="-4460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+mj-lt"/>
              <a:buAutoNum type="arabicPeriod"/>
              <a:defRPr lang="en-US" sz="3600" kern="1200" cap="none" smtClean="0">
                <a:solidFill>
                  <a:prstClr val="white"/>
                </a:solidFill>
                <a:latin typeface="+mj-lt"/>
                <a:ea typeface="+mj-ea"/>
                <a:cs typeface="+mj-cs"/>
              </a:defRPr>
            </a:lvl1pPr>
            <a:lvl2pPr marL="444500" indent="0" algn="l" defTabSz="914400" rtl="0" eaLnBrk="1" latinLnBrk="0" hangingPunct="1">
              <a:lnSpc>
                <a:spcPct val="70000"/>
              </a:lnSpc>
              <a:spcBef>
                <a:spcPts val="1200"/>
              </a:spcBef>
              <a:buClr>
                <a:schemeClr val="accent4"/>
              </a:buClr>
              <a:buNone/>
              <a:defRPr lang="en-US" sz="2400" kern="1200" dirty="0" smtClean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2pPr>
            <a:lvl3pPr marL="712788" algn="l" defTabSz="914400" rtl="0" eaLnBrk="1" latinLnBrk="0" hangingPunct="1">
              <a:lnSpc>
                <a:spcPct val="70000"/>
              </a:lnSpc>
              <a:spcBef>
                <a:spcPts val="1200"/>
              </a:spcBef>
              <a:buClr>
                <a:schemeClr val="accent4"/>
              </a:buClr>
              <a:defRPr lang="en-US" sz="2400" kern="1200" dirty="0" smtClean="0">
                <a:solidFill>
                  <a:srgbClr val="71984A"/>
                </a:solidFill>
                <a:latin typeface="+mn-lt"/>
                <a:ea typeface="+mj-ea"/>
                <a:cs typeface="+mj-cs"/>
              </a:defRPr>
            </a:lvl3pPr>
            <a:lvl4pPr marL="712788" algn="l" defTabSz="914400" rtl="0" eaLnBrk="1" latinLnBrk="0" hangingPunct="1">
              <a:lnSpc>
                <a:spcPct val="70000"/>
              </a:lnSpc>
              <a:spcBef>
                <a:spcPts val="1200"/>
              </a:spcBef>
              <a:buClr>
                <a:schemeClr val="accent4"/>
              </a:buClr>
              <a:defRPr lang="en-US" sz="2400" kern="1200" dirty="0" smtClean="0">
                <a:solidFill>
                  <a:srgbClr val="71984A"/>
                </a:solidFill>
                <a:latin typeface="+mn-lt"/>
                <a:ea typeface="+mj-ea"/>
                <a:cs typeface="+mj-cs"/>
              </a:defRPr>
            </a:lvl4pPr>
            <a:lvl5pPr marL="712788" algn="l" defTabSz="914400" rtl="0" eaLnBrk="1" latinLnBrk="0" hangingPunct="1">
              <a:lnSpc>
                <a:spcPct val="70000"/>
              </a:lnSpc>
              <a:spcBef>
                <a:spcPts val="1200"/>
              </a:spcBef>
              <a:buClr>
                <a:schemeClr val="accent4"/>
              </a:buClr>
              <a:defRPr lang="en-AU" sz="2400" kern="1200" dirty="0">
                <a:solidFill>
                  <a:srgbClr val="71984A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583991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44">
          <p15:clr>
            <a:srgbClr val="FBAE40"/>
          </p15:clr>
        </p15:guide>
        <p15:guide id="2" orient="horz" pos="336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2EAD49E-13B2-4415-BF2A-A7AD4F57A6F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549496" y="4961097"/>
            <a:ext cx="2403581" cy="1896903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3" name="Freeform: Shape 42">
            <a:extLst>
              <a:ext uri="{FF2B5EF4-FFF2-40B4-BE49-F238E27FC236}">
                <a16:creationId xmlns:a16="http://schemas.microsoft.com/office/drawing/2014/main" id="{B032783B-408B-43CE-A898-4DAD044BDD12}"/>
              </a:ext>
            </a:extLst>
          </p:cNvPr>
          <p:cNvSpPr/>
          <p:nvPr/>
        </p:nvSpPr>
        <p:spPr>
          <a:xfrm>
            <a:off x="-2549497" y="4970834"/>
            <a:ext cx="2403581" cy="1887166"/>
          </a:xfrm>
          <a:custGeom>
            <a:avLst/>
            <a:gdLst>
              <a:gd name="connsiteX0" fmla="*/ 117583 w 2403581"/>
              <a:gd name="connsiteY0" fmla="*/ 496111 h 1887166"/>
              <a:gd name="connsiteX1" fmla="*/ 117583 w 2403581"/>
              <a:gd name="connsiteY1" fmla="*/ 719847 h 1887166"/>
              <a:gd name="connsiteX2" fmla="*/ 428867 w 2403581"/>
              <a:gd name="connsiteY2" fmla="*/ 719847 h 1887166"/>
              <a:gd name="connsiteX3" fmla="*/ 428867 w 2403581"/>
              <a:gd name="connsiteY3" fmla="*/ 496111 h 1887166"/>
              <a:gd name="connsiteX4" fmla="*/ 195403 w 2403581"/>
              <a:gd name="connsiteY4" fmla="*/ 0 h 1887166"/>
              <a:gd name="connsiteX5" fmla="*/ 2403581 w 2403581"/>
              <a:gd name="connsiteY5" fmla="*/ 0 h 1887166"/>
              <a:gd name="connsiteX6" fmla="*/ 2403581 w 2403581"/>
              <a:gd name="connsiteY6" fmla="*/ 1887166 h 1887166"/>
              <a:gd name="connsiteX7" fmla="*/ 0 w 2403581"/>
              <a:gd name="connsiteY7" fmla="*/ 1887166 h 1887166"/>
              <a:gd name="connsiteX8" fmla="*/ 0 w 2403581"/>
              <a:gd name="connsiteY8" fmla="*/ 350196 h 1887166"/>
              <a:gd name="connsiteX9" fmla="*/ 195403 w 2403581"/>
              <a:gd name="connsiteY9" fmla="*/ 350196 h 18871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2403581" h="1887166">
                <a:moveTo>
                  <a:pt x="117583" y="496111"/>
                </a:moveTo>
                <a:lnTo>
                  <a:pt x="117583" y="719847"/>
                </a:lnTo>
                <a:lnTo>
                  <a:pt x="428867" y="719847"/>
                </a:lnTo>
                <a:lnTo>
                  <a:pt x="428867" y="496111"/>
                </a:lnTo>
                <a:close/>
                <a:moveTo>
                  <a:pt x="195403" y="0"/>
                </a:moveTo>
                <a:lnTo>
                  <a:pt x="2403581" y="0"/>
                </a:lnTo>
                <a:lnTo>
                  <a:pt x="2403581" y="1887166"/>
                </a:lnTo>
                <a:lnTo>
                  <a:pt x="0" y="1887166"/>
                </a:lnTo>
                <a:lnTo>
                  <a:pt x="0" y="350196"/>
                </a:lnTo>
                <a:lnTo>
                  <a:pt x="195403" y="350196"/>
                </a:lnTo>
                <a:close/>
              </a:path>
            </a:pathLst>
          </a:custGeom>
          <a:solidFill>
            <a:schemeClr val="accent1"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7067385F-41C1-4706-8CDC-FEED9D49DB3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39788" y="1916113"/>
            <a:ext cx="2341562" cy="23891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AU"/>
              <a:t>Click on the icon to insert picture</a:t>
            </a:r>
            <a:br>
              <a:rPr lang="en-AU"/>
            </a:br>
            <a:endParaRPr lang="en-AU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36201FF-69EF-4381-9B87-0FF54AC1E7B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E266AF-210D-4B9E-92F6-EF999B290F31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4AE3BF99-19EA-4332-9065-73C84FDAA88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465" y="4545012"/>
            <a:ext cx="2343150" cy="1404095"/>
          </a:xfrm>
        </p:spPr>
        <p:txBody>
          <a:bodyPr>
            <a:noAutofit/>
          </a:bodyPr>
          <a:lstStyle>
            <a:lvl1pPr>
              <a:defRPr sz="1600">
                <a:solidFill>
                  <a:schemeClr val="accent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174625" indent="-174625">
              <a:spcBef>
                <a:spcPts val="500"/>
              </a:spcBef>
              <a:spcAft>
                <a:spcPts val="0"/>
              </a:spcAft>
              <a:buClr>
                <a:schemeClr val="accent1"/>
              </a:buClr>
              <a:buFont typeface="Wingdings" panose="05000000000000000000" pitchFamily="2" charset="2"/>
              <a:buChar char="§"/>
              <a:defRPr sz="140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buClr>
                <a:schemeClr val="accent1"/>
              </a:buClr>
              <a:defRPr sz="140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buClr>
                <a:schemeClr val="accent1"/>
              </a:buClr>
              <a:defRPr sz="14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7EB72B18-B28C-4321-912E-912108500E3A}"/>
              </a:ext>
            </a:extLst>
          </p:cNvPr>
          <p:cNvSpPr txBox="1"/>
          <p:nvPr/>
        </p:nvSpPr>
        <p:spPr>
          <a:xfrm>
            <a:off x="-2183324" y="2949743"/>
            <a:ext cx="2080118" cy="181588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spcBef>
                <a:spcPts val="300"/>
              </a:spcBef>
            </a:pPr>
            <a:r>
              <a:rPr lang="en-AU" sz="1200"/>
              <a:t>This slide is designed to house black and white images.</a:t>
            </a:r>
          </a:p>
          <a:p>
            <a:pPr>
              <a:spcBef>
                <a:spcPts val="300"/>
              </a:spcBef>
            </a:pPr>
            <a:r>
              <a:rPr lang="en-AU" sz="1200"/>
              <a:t>This can be done inside of </a:t>
            </a:r>
            <a:r>
              <a:rPr lang="en-AU" sz="1200" err="1"/>
              <a:t>powerpoint</a:t>
            </a:r>
            <a:r>
              <a:rPr lang="en-AU" sz="1200"/>
              <a:t>.</a:t>
            </a:r>
          </a:p>
          <a:p>
            <a:pPr marL="228600" indent="-228600">
              <a:spcBef>
                <a:spcPts val="300"/>
              </a:spcBef>
              <a:buFont typeface="+mj-lt"/>
              <a:buAutoNum type="arabicPeriod"/>
            </a:pPr>
            <a:r>
              <a:rPr lang="en-AU" sz="1200"/>
              <a:t>Select the image</a:t>
            </a:r>
          </a:p>
          <a:p>
            <a:pPr marL="228600" indent="-228600">
              <a:spcBef>
                <a:spcPts val="300"/>
              </a:spcBef>
              <a:buFont typeface="+mj-lt"/>
              <a:buAutoNum type="arabicPeriod"/>
            </a:pPr>
            <a:r>
              <a:rPr lang="en-AU" sz="1200"/>
              <a:t>Click on ‘format’ in the ribbon</a:t>
            </a:r>
          </a:p>
          <a:p>
            <a:pPr marL="228600" indent="-228600">
              <a:spcBef>
                <a:spcPts val="300"/>
              </a:spcBef>
              <a:buFont typeface="+mj-lt"/>
              <a:buAutoNum type="arabicPeriod"/>
            </a:pPr>
            <a:r>
              <a:rPr lang="en-AU" sz="1200"/>
              <a:t>Click on ‘colour’ and select the option shown below </a:t>
            </a:r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1F9100E0-6AFF-4FDE-A718-3B419D85369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3562351" y="1916113"/>
            <a:ext cx="2341562" cy="23891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AU"/>
              <a:t>Click on the icon to insert picture</a:t>
            </a:r>
            <a:br>
              <a:rPr lang="en-AU"/>
            </a:br>
            <a:endParaRPr lang="en-AU"/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5AABB20A-FBAB-4E4D-A83F-94F3D3198F1F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264275" y="1916113"/>
            <a:ext cx="2341562" cy="23891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AU"/>
              <a:t>Click on the icon to insert picture</a:t>
            </a:r>
            <a:br>
              <a:rPr lang="en-AU"/>
            </a:br>
            <a:endParaRPr lang="en-AU"/>
          </a:p>
        </p:txBody>
      </p:sp>
      <p:sp>
        <p:nvSpPr>
          <p:cNvPr id="21" name="Picture Placeholder 3">
            <a:extLst>
              <a:ext uri="{FF2B5EF4-FFF2-40B4-BE49-F238E27FC236}">
                <a16:creationId xmlns:a16="http://schemas.microsoft.com/office/drawing/2014/main" id="{A03859BA-F765-438E-8792-E6D66D7DEC17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010651" y="1916113"/>
            <a:ext cx="2341562" cy="2389187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/>
          <a:lstStyle>
            <a:lvl1pPr>
              <a:defRPr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AU"/>
              <a:t>Click on the icon to insert picture</a:t>
            </a:r>
            <a:br>
              <a:rPr lang="en-AU"/>
            </a:br>
            <a:endParaRPr lang="en-AU"/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322365B8-FF76-4747-B6DE-39A848E97C2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562616" y="4545012"/>
            <a:ext cx="2343150" cy="1404095"/>
          </a:xfrm>
        </p:spPr>
        <p:txBody>
          <a:bodyPr>
            <a:noAutofit/>
          </a:bodyPr>
          <a:lstStyle>
            <a:lvl1pPr>
              <a:defRPr sz="1600">
                <a:solidFill>
                  <a:schemeClr val="accent2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174625" indent="-174625">
              <a:spcBef>
                <a:spcPts val="500"/>
              </a:spcBef>
              <a:spcAft>
                <a:spcPts val="0"/>
              </a:spcAft>
              <a:buClr>
                <a:schemeClr val="accent2"/>
              </a:buClr>
              <a:buFont typeface="Wingdings" panose="05000000000000000000" pitchFamily="2" charset="2"/>
              <a:buChar char="§"/>
              <a:defRPr sz="140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buClr>
                <a:schemeClr val="accent2"/>
              </a:buClr>
              <a:defRPr sz="140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buClr>
                <a:schemeClr val="accent2"/>
              </a:buClr>
              <a:defRPr sz="14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4FCBADDC-94E0-438D-AD3D-343873347D5E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86767" y="4545012"/>
            <a:ext cx="2343150" cy="1404095"/>
          </a:xfrm>
        </p:spPr>
        <p:txBody>
          <a:bodyPr>
            <a:noAutofit/>
          </a:bodyPr>
          <a:lstStyle>
            <a:lvl1pPr>
              <a:defRPr sz="1600">
                <a:solidFill>
                  <a:schemeClr val="accent3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174625" indent="-174625">
              <a:spcBef>
                <a:spcPts val="500"/>
              </a:spcBef>
              <a:spcAft>
                <a:spcPts val="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defRPr sz="140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defRPr sz="140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defRPr sz="14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0DA60E18-AD62-44CE-B32C-016A3571D65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010653" y="4545012"/>
            <a:ext cx="2343150" cy="1404095"/>
          </a:xfrm>
        </p:spPr>
        <p:txBody>
          <a:bodyPr>
            <a:noAutofit/>
          </a:bodyPr>
          <a:lstStyle>
            <a:lvl1pPr>
              <a:defRPr sz="1600">
                <a:solidFill>
                  <a:schemeClr val="accent4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174625" indent="-174625">
              <a:spcBef>
                <a:spcPts val="500"/>
              </a:spcBef>
              <a:spcAft>
                <a:spcPts val="0"/>
              </a:spcAft>
              <a:buClr>
                <a:schemeClr val="accent4"/>
              </a:buClr>
              <a:buFont typeface="Wingdings" panose="05000000000000000000" pitchFamily="2" charset="2"/>
              <a:buChar char="§"/>
              <a:defRPr sz="1400"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>
              <a:buClr>
                <a:schemeClr val="accent4"/>
              </a:buClr>
              <a:defRPr sz="1400"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>
              <a:buClr>
                <a:schemeClr val="accent4"/>
              </a:buClr>
              <a:defRPr sz="14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cxnSp>
        <p:nvCxnSpPr>
          <p:cNvPr id="37" name="Straight Connector 36">
            <a:extLst>
              <a:ext uri="{FF2B5EF4-FFF2-40B4-BE49-F238E27FC236}">
                <a16:creationId xmlns:a16="http://schemas.microsoft.com/office/drawing/2014/main" id="{3203E08F-0358-4BE6-9D54-6FC7CDFE97A4}"/>
              </a:ext>
            </a:extLst>
          </p:cNvPr>
          <p:cNvCxnSpPr>
            <a:cxnSpLocks noChangeAspect="1"/>
          </p:cNvCxnSpPr>
          <p:nvPr/>
        </p:nvCxnSpPr>
        <p:spPr>
          <a:xfrm>
            <a:off x="835875" y="6013856"/>
            <a:ext cx="2340000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A8BE3244-565E-45A5-A5ED-E295D8ADE0C7}"/>
              </a:ext>
            </a:extLst>
          </p:cNvPr>
          <p:cNvCxnSpPr>
            <a:cxnSpLocks noChangeAspect="1"/>
          </p:cNvCxnSpPr>
          <p:nvPr/>
        </p:nvCxnSpPr>
        <p:spPr>
          <a:xfrm>
            <a:off x="6286767" y="6013856"/>
            <a:ext cx="2340000" cy="0"/>
          </a:xfrm>
          <a:prstGeom prst="line">
            <a:avLst/>
          </a:prstGeom>
          <a:ln w="285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AC54270F-F9C1-441E-B51E-A6CE823C4E19}"/>
              </a:ext>
            </a:extLst>
          </p:cNvPr>
          <p:cNvCxnSpPr>
            <a:cxnSpLocks noChangeAspect="1"/>
          </p:cNvCxnSpPr>
          <p:nvPr/>
        </p:nvCxnSpPr>
        <p:spPr>
          <a:xfrm>
            <a:off x="3560763" y="6015038"/>
            <a:ext cx="2340000" cy="0"/>
          </a:xfrm>
          <a:prstGeom prst="line">
            <a:avLst/>
          </a:prstGeom>
          <a:ln w="2857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7CE1D984-EA3E-4FB3-88C4-218DCCDE5E58}"/>
              </a:ext>
            </a:extLst>
          </p:cNvPr>
          <p:cNvCxnSpPr>
            <a:cxnSpLocks noChangeAspect="1"/>
          </p:cNvCxnSpPr>
          <p:nvPr/>
        </p:nvCxnSpPr>
        <p:spPr>
          <a:xfrm>
            <a:off x="9012213" y="6013856"/>
            <a:ext cx="2340000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itle 7">
            <a:extLst>
              <a:ext uri="{FF2B5EF4-FFF2-40B4-BE49-F238E27FC236}">
                <a16:creationId xmlns:a16="http://schemas.microsoft.com/office/drawing/2014/main" id="{609418B5-93B3-4F33-AB60-463A9A8A0C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23" name="Footer Placeholder 2">
            <a:extLst>
              <a:ext uri="{FF2B5EF4-FFF2-40B4-BE49-F238E27FC236}">
                <a16:creationId xmlns:a16="http://schemas.microsoft.com/office/drawing/2014/main" id="{577323E5-E5C4-4999-B3CC-2D528BD5EB5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88164" y="6265776"/>
            <a:ext cx="9042622" cy="161583"/>
          </a:xfrm>
          <a:prstGeom prst="rect">
            <a:avLst/>
          </a:prstGeom>
          <a:solidFill>
            <a:schemeClr val="bg1"/>
          </a:solidFill>
          <a:effectLst>
            <a:outerShdw dist="12700" dir="10800000" algn="ctr" rotWithShape="0">
              <a:schemeClr val="tx2">
                <a:lumMod val="50000"/>
                <a:lumOff val="50000"/>
              </a:schemeClr>
            </a:outerShdw>
          </a:effectLst>
        </p:spPr>
        <p:txBody>
          <a:bodyPr vert="horz" wrap="square" lIns="72000" tIns="0" rIns="0" bIns="0" rtlCol="0" anchor="ctr">
            <a:noAutofit/>
          </a:bodyPr>
          <a:lstStyle>
            <a:lvl1pPr>
              <a:defRPr lang="en-AU" sz="1000" smtClean="0">
                <a:solidFill>
                  <a:schemeClr val="tx2"/>
                </a:solidFill>
              </a:defRPr>
            </a:lvl1pPr>
          </a:lstStyle>
          <a:p>
            <a:r>
              <a:rPr lang="en-AU"/>
              <a:t>MACHC20-07.5 - 5 Dec 2019</a:t>
            </a:r>
          </a:p>
        </p:txBody>
      </p:sp>
    </p:spTree>
    <p:extLst>
      <p:ext uri="{BB962C8B-B14F-4D97-AF65-F5344CB8AC3E}">
        <p14:creationId xmlns:p14="http://schemas.microsoft.com/office/powerpoint/2010/main" val="12754305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863">
          <p15:clr>
            <a:srgbClr val="FBAE40"/>
          </p15:clr>
        </p15:guide>
        <p15:guide id="2" orient="horz" pos="2727">
          <p15:clr>
            <a:srgbClr val="FBAE40"/>
          </p15:clr>
        </p15:guide>
        <p15:guide id="4" pos="2004">
          <p15:clr>
            <a:srgbClr val="FBAE40"/>
          </p15:clr>
        </p15:guide>
        <p15:guide id="6" pos="5662">
          <p15:clr>
            <a:srgbClr val="FBAE40"/>
          </p15:clr>
        </p15:guide>
        <p15:guide id="7" pos="2243">
          <p15:clr>
            <a:srgbClr val="FBAE40"/>
          </p15:clr>
        </p15:guide>
        <p15:guide id="8" pos="3719">
          <p15:clr>
            <a:srgbClr val="FBAE40"/>
          </p15:clr>
        </p15:guide>
        <p15:guide id="9" pos="3946">
          <p15:clr>
            <a:srgbClr val="FBAE40"/>
          </p15:clr>
        </p15:guide>
        <p15:guide id="10" pos="543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break - Image/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>
            <a:extLst>
              <a:ext uri="{FF2B5EF4-FFF2-40B4-BE49-F238E27FC236}">
                <a16:creationId xmlns:a16="http://schemas.microsoft.com/office/drawing/2014/main" id="{6C38E76A-0E5C-47DC-AF6A-1C4BB2BD6784}"/>
              </a:ext>
            </a:extLst>
          </p:cNvPr>
          <p:cNvGrpSpPr/>
          <p:nvPr userDrawn="1"/>
        </p:nvGrpSpPr>
        <p:grpSpPr>
          <a:xfrm>
            <a:off x="-2878934" y="2864682"/>
            <a:ext cx="2685426" cy="3972150"/>
            <a:chOff x="-3213913" y="2727414"/>
            <a:chExt cx="2685426" cy="3972150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15222986-B194-4CDF-BBA2-501977ABF1F0}"/>
                </a:ext>
              </a:extLst>
            </p:cNvPr>
            <p:cNvGrpSpPr/>
            <p:nvPr userDrawn="1"/>
          </p:nvGrpSpPr>
          <p:grpSpPr>
            <a:xfrm>
              <a:off x="-3213913" y="2727414"/>
              <a:ext cx="2685426" cy="3972150"/>
              <a:chOff x="-3171151" y="1910451"/>
              <a:chExt cx="2685426" cy="3972150"/>
            </a:xfrm>
          </p:grpSpPr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21EBE303-DE72-4223-8BB4-7013A3C2589E}"/>
                  </a:ext>
                </a:extLst>
              </p:cNvPr>
              <p:cNvSpPr txBox="1"/>
              <p:nvPr userDrawn="1"/>
            </p:nvSpPr>
            <p:spPr>
              <a:xfrm>
                <a:off x="-3171151" y="1910451"/>
                <a:ext cx="2685425" cy="15696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AU" sz="1200">
                    <a:latin typeface="+mj-lt"/>
                  </a:rPr>
                  <a:t>To change section numbers:</a:t>
                </a:r>
              </a:p>
              <a:p>
                <a:r>
                  <a:rPr lang="en-AU" sz="1200"/>
                  <a:t>Under the home menu in the ribbon, in the paragraph section 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AU" sz="1200"/>
                  <a:t>click on the drop down </a:t>
                </a:r>
                <a:br>
                  <a:rPr lang="en-AU" sz="1200"/>
                </a:br>
                <a:r>
                  <a:rPr lang="en-AU" sz="1200"/>
                  <a:t>arrow in ‘numbering’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AU" sz="1200"/>
                  <a:t>Select ‘ bullets and numbering’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AU" sz="1200"/>
                  <a:t>Use the arrows to change the starting number</a:t>
                </a:r>
              </a:p>
            </p:txBody>
          </p:sp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B4C1453D-B1E4-4A41-822B-6DF92389ECCA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1484"/>
              <a:stretch/>
            </p:blipFill>
            <p:spPr>
              <a:xfrm>
                <a:off x="-3171150" y="3510960"/>
                <a:ext cx="2685425" cy="237164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83C0951A-F753-4A77-A3F9-A44B860CC11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"/>
              <a:stretch>
                <a:fillRect/>
              </a:stretch>
            </p:blipFill>
            <p:spPr>
              <a:xfrm>
                <a:off x="-1207427" y="2529854"/>
                <a:ext cx="361950" cy="276225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D777FA05-C380-4802-B012-340C0C126CD1}"/>
                </a:ext>
              </a:extLst>
            </p:cNvPr>
            <p:cNvSpPr/>
            <p:nvPr userDrawn="1"/>
          </p:nvSpPr>
          <p:spPr>
            <a:xfrm>
              <a:off x="-3213913" y="4327923"/>
              <a:ext cx="2685425" cy="2371641"/>
            </a:xfrm>
            <a:custGeom>
              <a:avLst/>
              <a:gdLst>
                <a:gd name="connsiteX0" fmla="*/ 1769003 w 2685425"/>
                <a:gd name="connsiteY0" fmla="*/ 1701685 h 2371641"/>
                <a:gd name="connsiteX1" fmla="*/ 1769003 w 2685425"/>
                <a:gd name="connsiteY1" fmla="*/ 1900861 h 2371641"/>
                <a:gd name="connsiteX2" fmla="*/ 2571117 w 2685425"/>
                <a:gd name="connsiteY2" fmla="*/ 1900861 h 2371641"/>
                <a:gd name="connsiteX3" fmla="*/ 2571117 w 2685425"/>
                <a:gd name="connsiteY3" fmla="*/ 1701685 h 2371641"/>
                <a:gd name="connsiteX4" fmla="*/ 0 w 2685425"/>
                <a:gd name="connsiteY4" fmla="*/ 0 h 2371641"/>
                <a:gd name="connsiteX5" fmla="*/ 2685425 w 2685425"/>
                <a:gd name="connsiteY5" fmla="*/ 0 h 2371641"/>
                <a:gd name="connsiteX6" fmla="*/ 2685425 w 2685425"/>
                <a:gd name="connsiteY6" fmla="*/ 2371641 h 2371641"/>
                <a:gd name="connsiteX7" fmla="*/ 0 w 2685425"/>
                <a:gd name="connsiteY7" fmla="*/ 2371641 h 237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85425" h="2371641">
                  <a:moveTo>
                    <a:pt x="1769003" y="1701685"/>
                  </a:moveTo>
                  <a:lnTo>
                    <a:pt x="1769003" y="1900861"/>
                  </a:lnTo>
                  <a:lnTo>
                    <a:pt x="2571117" y="1900861"/>
                  </a:lnTo>
                  <a:lnTo>
                    <a:pt x="2571117" y="1701685"/>
                  </a:lnTo>
                  <a:close/>
                  <a:moveTo>
                    <a:pt x="0" y="0"/>
                  </a:moveTo>
                  <a:lnTo>
                    <a:pt x="2685425" y="0"/>
                  </a:lnTo>
                  <a:lnTo>
                    <a:pt x="2685425" y="2371641"/>
                  </a:lnTo>
                  <a:lnTo>
                    <a:pt x="0" y="2371641"/>
                  </a:lnTo>
                  <a:close/>
                </a:path>
              </a:pathLst>
            </a:custGeom>
            <a:solidFill>
              <a:srgbClr val="000000">
                <a:alpha val="4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E539EAB8-624A-4BA9-81EA-D3C01758735B}"/>
              </a:ext>
            </a:extLst>
          </p:cNvPr>
          <p:cNvSpPr/>
          <p:nvPr userDrawn="1"/>
        </p:nvSpPr>
        <p:spPr>
          <a:xfrm>
            <a:off x="5626358" y="1746017"/>
            <a:ext cx="6565642" cy="383488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1163BE28-18CA-420A-A008-9FFEA87F11AD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1746018"/>
            <a:ext cx="5626358" cy="3834882"/>
          </a:xfrm>
          <a:prstGeom prst="rect">
            <a:avLst/>
          </a:prstGeom>
          <a:solidFill>
            <a:schemeClr val="bg2"/>
          </a:solidFill>
        </p:spPr>
        <p:txBody>
          <a:bodyPr lIns="72000" tIns="72000" rIns="72000" bIns="7200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0131425" algn="l"/>
              </a:tabLst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/>
              <a:t>Click on the icon to insert picture</a:t>
            </a:r>
            <a:br>
              <a:rPr lang="en-AU"/>
            </a:br>
            <a:endParaRPr lang="en-AU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2ECAD92-B00F-42A2-AE7D-22A0F33543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38247" y="3149316"/>
            <a:ext cx="4741863" cy="1414683"/>
          </a:xfrm>
          <a:prstGeom prst="rect">
            <a:avLst/>
          </a:prstGeom>
        </p:spPr>
        <p:txBody>
          <a:bodyPr anchor="ctr">
            <a:spAutoFit/>
          </a:bodyPr>
          <a:lstStyle>
            <a:lvl1pPr marL="446088" indent="-4460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4"/>
              </a:buClr>
              <a:buFont typeface="+mj-lt"/>
              <a:buAutoNum type="arabicPeriod"/>
              <a:defRPr lang="en-US" sz="3600" kern="1200" cap="none" smtClean="0">
                <a:solidFill>
                  <a:prstClr val="white"/>
                </a:solidFill>
                <a:latin typeface="+mj-lt"/>
                <a:ea typeface="+mj-ea"/>
                <a:cs typeface="+mj-cs"/>
              </a:defRPr>
            </a:lvl1pPr>
            <a:lvl2pPr marL="444500" indent="0" algn="l" defTabSz="914400" rtl="0" eaLnBrk="1" latinLnBrk="0" hangingPunct="1">
              <a:lnSpc>
                <a:spcPct val="70000"/>
              </a:lnSpc>
              <a:spcBef>
                <a:spcPts val="1200"/>
              </a:spcBef>
              <a:buClr>
                <a:schemeClr val="accent4"/>
              </a:buClr>
              <a:buNone/>
              <a:defRPr lang="en-US" sz="2400" kern="1200" dirty="0" smtClean="0">
                <a:solidFill>
                  <a:srgbClr val="71984A"/>
                </a:solidFill>
                <a:latin typeface="+mn-lt"/>
                <a:ea typeface="+mj-ea"/>
                <a:cs typeface="+mj-cs"/>
              </a:defRPr>
            </a:lvl2pPr>
            <a:lvl3pPr marL="712788" algn="l" defTabSz="914400" rtl="0" eaLnBrk="1" latinLnBrk="0" hangingPunct="1">
              <a:lnSpc>
                <a:spcPct val="70000"/>
              </a:lnSpc>
              <a:spcBef>
                <a:spcPts val="1200"/>
              </a:spcBef>
              <a:buClr>
                <a:schemeClr val="accent4"/>
              </a:buClr>
              <a:defRPr lang="en-US" sz="2400" kern="1200" dirty="0" smtClean="0">
                <a:solidFill>
                  <a:srgbClr val="71984A"/>
                </a:solidFill>
                <a:latin typeface="+mn-lt"/>
                <a:ea typeface="+mj-ea"/>
                <a:cs typeface="+mj-cs"/>
              </a:defRPr>
            </a:lvl3pPr>
            <a:lvl4pPr marL="712788" algn="l" defTabSz="914400" rtl="0" eaLnBrk="1" latinLnBrk="0" hangingPunct="1">
              <a:lnSpc>
                <a:spcPct val="70000"/>
              </a:lnSpc>
              <a:spcBef>
                <a:spcPts val="1200"/>
              </a:spcBef>
              <a:buClr>
                <a:schemeClr val="accent4"/>
              </a:buClr>
              <a:defRPr lang="en-US" sz="2400" kern="1200" dirty="0" smtClean="0">
                <a:solidFill>
                  <a:srgbClr val="71984A"/>
                </a:solidFill>
                <a:latin typeface="+mn-lt"/>
                <a:ea typeface="+mj-ea"/>
                <a:cs typeface="+mj-cs"/>
              </a:defRPr>
            </a:lvl4pPr>
            <a:lvl5pPr marL="712788" algn="l" defTabSz="914400" rtl="0" eaLnBrk="1" latinLnBrk="0" hangingPunct="1">
              <a:lnSpc>
                <a:spcPct val="70000"/>
              </a:lnSpc>
              <a:spcBef>
                <a:spcPts val="1200"/>
              </a:spcBef>
              <a:buClr>
                <a:schemeClr val="accent4"/>
              </a:buClr>
              <a:defRPr lang="en-AU" sz="2400" kern="1200" dirty="0">
                <a:solidFill>
                  <a:srgbClr val="71984A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A2A8EF6D-3E70-43E2-857A-F00ABF551AC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67459" y="682683"/>
            <a:ext cx="2056571" cy="909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932492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Right side big image &amp; text B_double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Kép helye 2"/>
          <p:cNvSpPr>
            <a:spLocks noGrp="1"/>
          </p:cNvSpPr>
          <p:nvPr>
            <p:ph type="pic" sz="quarter" idx="10"/>
          </p:nvPr>
        </p:nvSpPr>
        <p:spPr>
          <a:xfrm>
            <a:off x="4213421" y="1141312"/>
            <a:ext cx="7982935" cy="5459514"/>
          </a:xfrm>
          <a:custGeom>
            <a:avLst/>
            <a:gdLst>
              <a:gd name="connsiteX0" fmla="*/ 0 w 5983287"/>
              <a:gd name="connsiteY0" fmla="*/ 0 h 5794375"/>
              <a:gd name="connsiteX1" fmla="*/ 5983287 w 5983287"/>
              <a:gd name="connsiteY1" fmla="*/ 0 h 5794375"/>
              <a:gd name="connsiteX2" fmla="*/ 5983287 w 5983287"/>
              <a:gd name="connsiteY2" fmla="*/ 5794375 h 5794375"/>
              <a:gd name="connsiteX3" fmla="*/ 0 w 5983287"/>
              <a:gd name="connsiteY3" fmla="*/ 5794375 h 5794375"/>
              <a:gd name="connsiteX4" fmla="*/ 0 w 5983287"/>
              <a:gd name="connsiteY4" fmla="*/ 0 h 5794375"/>
              <a:gd name="connsiteX0" fmla="*/ 1892968 w 5983287"/>
              <a:gd name="connsiteY0" fmla="*/ 0 h 5794375"/>
              <a:gd name="connsiteX1" fmla="*/ 5983287 w 5983287"/>
              <a:gd name="connsiteY1" fmla="*/ 0 h 5794375"/>
              <a:gd name="connsiteX2" fmla="*/ 5983287 w 5983287"/>
              <a:gd name="connsiteY2" fmla="*/ 5794375 h 5794375"/>
              <a:gd name="connsiteX3" fmla="*/ 0 w 5983287"/>
              <a:gd name="connsiteY3" fmla="*/ 5794375 h 5794375"/>
              <a:gd name="connsiteX4" fmla="*/ 1892968 w 5983287"/>
              <a:gd name="connsiteY4" fmla="*/ 0 h 5794375"/>
              <a:gd name="connsiteX0" fmla="*/ 1881062 w 5971381"/>
              <a:gd name="connsiteY0" fmla="*/ 0 h 5794375"/>
              <a:gd name="connsiteX1" fmla="*/ 5971381 w 5971381"/>
              <a:gd name="connsiteY1" fmla="*/ 0 h 5794375"/>
              <a:gd name="connsiteX2" fmla="*/ 5971381 w 5971381"/>
              <a:gd name="connsiteY2" fmla="*/ 5794375 h 5794375"/>
              <a:gd name="connsiteX3" fmla="*/ 0 w 5971381"/>
              <a:gd name="connsiteY3" fmla="*/ 5765800 h 5794375"/>
              <a:gd name="connsiteX4" fmla="*/ 1881062 w 5971381"/>
              <a:gd name="connsiteY4" fmla="*/ 0 h 5794375"/>
              <a:gd name="connsiteX0" fmla="*/ 1890587 w 5980906"/>
              <a:gd name="connsiteY0" fmla="*/ 0 h 5794375"/>
              <a:gd name="connsiteX1" fmla="*/ 5980906 w 5980906"/>
              <a:gd name="connsiteY1" fmla="*/ 0 h 5794375"/>
              <a:gd name="connsiteX2" fmla="*/ 5980906 w 5980906"/>
              <a:gd name="connsiteY2" fmla="*/ 5794375 h 5794375"/>
              <a:gd name="connsiteX3" fmla="*/ 0 w 5980906"/>
              <a:gd name="connsiteY3" fmla="*/ 5791993 h 5794375"/>
              <a:gd name="connsiteX4" fmla="*/ 1890587 w 5980906"/>
              <a:gd name="connsiteY4" fmla="*/ 0 h 5794375"/>
              <a:gd name="connsiteX0" fmla="*/ 1883443 w 5973762"/>
              <a:gd name="connsiteY0" fmla="*/ 0 h 5794375"/>
              <a:gd name="connsiteX1" fmla="*/ 5973762 w 5973762"/>
              <a:gd name="connsiteY1" fmla="*/ 0 h 5794375"/>
              <a:gd name="connsiteX2" fmla="*/ 5973762 w 5973762"/>
              <a:gd name="connsiteY2" fmla="*/ 5794375 h 5794375"/>
              <a:gd name="connsiteX3" fmla="*/ 0 w 5973762"/>
              <a:gd name="connsiteY3" fmla="*/ 5775325 h 5794375"/>
              <a:gd name="connsiteX4" fmla="*/ 1883443 w 5973762"/>
              <a:gd name="connsiteY4" fmla="*/ 0 h 5794375"/>
              <a:gd name="connsiteX0" fmla="*/ 1888206 w 5978525"/>
              <a:gd name="connsiteY0" fmla="*/ 0 h 5794375"/>
              <a:gd name="connsiteX1" fmla="*/ 5978525 w 5978525"/>
              <a:gd name="connsiteY1" fmla="*/ 0 h 5794375"/>
              <a:gd name="connsiteX2" fmla="*/ 5978525 w 5978525"/>
              <a:gd name="connsiteY2" fmla="*/ 5794375 h 5794375"/>
              <a:gd name="connsiteX3" fmla="*/ 0 w 5978525"/>
              <a:gd name="connsiteY3" fmla="*/ 5794375 h 5794375"/>
              <a:gd name="connsiteX4" fmla="*/ 1888206 w 5978525"/>
              <a:gd name="connsiteY4" fmla="*/ 0 h 5794375"/>
              <a:gd name="connsiteX0" fmla="*/ 1781202 w 5978525"/>
              <a:gd name="connsiteY0" fmla="*/ 330601 h 5794375"/>
              <a:gd name="connsiteX1" fmla="*/ 5978525 w 5978525"/>
              <a:gd name="connsiteY1" fmla="*/ 0 h 5794375"/>
              <a:gd name="connsiteX2" fmla="*/ 5978525 w 5978525"/>
              <a:gd name="connsiteY2" fmla="*/ 5794375 h 5794375"/>
              <a:gd name="connsiteX3" fmla="*/ 0 w 5978525"/>
              <a:gd name="connsiteY3" fmla="*/ 5794375 h 5794375"/>
              <a:gd name="connsiteX4" fmla="*/ 1781202 w 5978525"/>
              <a:gd name="connsiteY4" fmla="*/ 330601 h 5794375"/>
              <a:gd name="connsiteX0" fmla="*/ 1781202 w 5978525"/>
              <a:gd name="connsiteY0" fmla="*/ 0 h 5463774"/>
              <a:gd name="connsiteX1" fmla="*/ 5968797 w 5978525"/>
              <a:gd name="connsiteY1" fmla="*/ 14585 h 5463774"/>
              <a:gd name="connsiteX2" fmla="*/ 5978525 w 5978525"/>
              <a:gd name="connsiteY2" fmla="*/ 5463774 h 5463774"/>
              <a:gd name="connsiteX3" fmla="*/ 0 w 5978525"/>
              <a:gd name="connsiteY3" fmla="*/ 5463774 h 5463774"/>
              <a:gd name="connsiteX4" fmla="*/ 1781202 w 5978525"/>
              <a:gd name="connsiteY4" fmla="*/ 0 h 5463774"/>
              <a:gd name="connsiteX0" fmla="*/ 1776338 w 5978525"/>
              <a:gd name="connsiteY0" fmla="*/ 0 h 5454050"/>
              <a:gd name="connsiteX1" fmla="*/ 5968797 w 5978525"/>
              <a:gd name="connsiteY1" fmla="*/ 4861 h 5454050"/>
              <a:gd name="connsiteX2" fmla="*/ 5978525 w 5978525"/>
              <a:gd name="connsiteY2" fmla="*/ 5454050 h 5454050"/>
              <a:gd name="connsiteX3" fmla="*/ 0 w 5978525"/>
              <a:gd name="connsiteY3" fmla="*/ 5454050 h 5454050"/>
              <a:gd name="connsiteX4" fmla="*/ 1776338 w 5978525"/>
              <a:gd name="connsiteY4" fmla="*/ 0 h 5454050"/>
              <a:gd name="connsiteX0" fmla="*/ 1773171 w 5978525"/>
              <a:gd name="connsiteY0" fmla="*/ 0 h 5450876"/>
              <a:gd name="connsiteX1" fmla="*/ 5968797 w 5978525"/>
              <a:gd name="connsiteY1" fmla="*/ 1687 h 5450876"/>
              <a:gd name="connsiteX2" fmla="*/ 5978525 w 5978525"/>
              <a:gd name="connsiteY2" fmla="*/ 5450876 h 5450876"/>
              <a:gd name="connsiteX3" fmla="*/ 0 w 5978525"/>
              <a:gd name="connsiteY3" fmla="*/ 5450876 h 5450876"/>
              <a:gd name="connsiteX4" fmla="*/ 1773171 w 5978525"/>
              <a:gd name="connsiteY4" fmla="*/ 0 h 5450876"/>
              <a:gd name="connsiteX0" fmla="*/ 1773171 w 5978525"/>
              <a:gd name="connsiteY0" fmla="*/ 0 h 5450876"/>
              <a:gd name="connsiteX1" fmla="*/ 5965630 w 5978525"/>
              <a:gd name="connsiteY1" fmla="*/ 1687 h 5450876"/>
              <a:gd name="connsiteX2" fmla="*/ 5978525 w 5978525"/>
              <a:gd name="connsiteY2" fmla="*/ 5450876 h 5450876"/>
              <a:gd name="connsiteX3" fmla="*/ 0 w 5978525"/>
              <a:gd name="connsiteY3" fmla="*/ 5450876 h 5450876"/>
              <a:gd name="connsiteX4" fmla="*/ 1773171 w 5978525"/>
              <a:gd name="connsiteY4" fmla="*/ 0 h 5450876"/>
              <a:gd name="connsiteX0" fmla="*/ 1773171 w 5978525"/>
              <a:gd name="connsiteY0" fmla="*/ 0 h 5457223"/>
              <a:gd name="connsiteX1" fmla="*/ 5965630 w 5978525"/>
              <a:gd name="connsiteY1" fmla="*/ 1687 h 5457223"/>
              <a:gd name="connsiteX2" fmla="*/ 5978525 w 5978525"/>
              <a:gd name="connsiteY2" fmla="*/ 5457223 h 5457223"/>
              <a:gd name="connsiteX3" fmla="*/ 0 w 5978525"/>
              <a:gd name="connsiteY3" fmla="*/ 5450876 h 5457223"/>
              <a:gd name="connsiteX4" fmla="*/ 1773171 w 5978525"/>
              <a:gd name="connsiteY4" fmla="*/ 0 h 5457223"/>
              <a:gd name="connsiteX0" fmla="*/ 1773171 w 5978525"/>
              <a:gd name="connsiteY0" fmla="*/ 0 h 5457223"/>
              <a:gd name="connsiteX1" fmla="*/ 5965630 w 5978525"/>
              <a:gd name="connsiteY1" fmla="*/ 1687 h 5457223"/>
              <a:gd name="connsiteX2" fmla="*/ 5978525 w 5978525"/>
              <a:gd name="connsiteY2" fmla="*/ 5457223 h 5457223"/>
              <a:gd name="connsiteX3" fmla="*/ 0 w 5978525"/>
              <a:gd name="connsiteY3" fmla="*/ 5450876 h 5457223"/>
              <a:gd name="connsiteX4" fmla="*/ 1773171 w 5978525"/>
              <a:gd name="connsiteY4" fmla="*/ 0 h 5457223"/>
              <a:gd name="connsiteX0" fmla="*/ 1773171 w 5975358"/>
              <a:gd name="connsiteY0" fmla="*/ 0 h 5457223"/>
              <a:gd name="connsiteX1" fmla="*/ 5965630 w 5975358"/>
              <a:gd name="connsiteY1" fmla="*/ 1687 h 5457223"/>
              <a:gd name="connsiteX2" fmla="*/ 5975358 w 5975358"/>
              <a:gd name="connsiteY2" fmla="*/ 5457223 h 5457223"/>
              <a:gd name="connsiteX3" fmla="*/ 0 w 5975358"/>
              <a:gd name="connsiteY3" fmla="*/ 5450876 h 5457223"/>
              <a:gd name="connsiteX4" fmla="*/ 1773171 w 5975358"/>
              <a:gd name="connsiteY4" fmla="*/ 0 h 5457223"/>
              <a:gd name="connsiteX0" fmla="*/ 1770004 w 5972191"/>
              <a:gd name="connsiteY0" fmla="*/ 0 h 5457223"/>
              <a:gd name="connsiteX1" fmla="*/ 5962463 w 5972191"/>
              <a:gd name="connsiteY1" fmla="*/ 1687 h 5457223"/>
              <a:gd name="connsiteX2" fmla="*/ 5972191 w 5972191"/>
              <a:gd name="connsiteY2" fmla="*/ 5457223 h 5457223"/>
              <a:gd name="connsiteX3" fmla="*/ 0 w 5972191"/>
              <a:gd name="connsiteY3" fmla="*/ 5454050 h 5457223"/>
              <a:gd name="connsiteX4" fmla="*/ 1770004 w 5972191"/>
              <a:gd name="connsiteY4" fmla="*/ 0 h 54572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972191" h="5457223">
                <a:moveTo>
                  <a:pt x="1770004" y="0"/>
                </a:moveTo>
                <a:lnTo>
                  <a:pt x="5962463" y="1687"/>
                </a:lnTo>
                <a:cubicBezTo>
                  <a:pt x="5965706" y="1818083"/>
                  <a:pt x="5968948" y="3640827"/>
                  <a:pt x="5972191" y="5457223"/>
                </a:cubicBezTo>
                <a:lnTo>
                  <a:pt x="0" y="5454050"/>
                </a:lnTo>
                <a:lnTo>
                  <a:pt x="1770004" y="0"/>
                </a:lnTo>
                <a:close/>
              </a:path>
            </a:pathLst>
          </a:custGeom>
          <a:solidFill>
            <a:srgbClr val="BBC7D0"/>
          </a:solidFill>
        </p:spPr>
        <p:txBody>
          <a:bodyPr anchor="ctr" anchorCtr="1">
            <a:norm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600"/>
            </a:lvl1pPr>
          </a:lstStyle>
          <a:p>
            <a:endParaRPr lang="en-GB" noProof="0"/>
          </a:p>
          <a:p>
            <a:endParaRPr lang="en-GB" noProof="0"/>
          </a:p>
          <a:p>
            <a:endParaRPr lang="en-GB" noProof="0"/>
          </a:p>
          <a:p>
            <a:endParaRPr lang="en-GB" noProof="0"/>
          </a:p>
          <a:p>
            <a:r>
              <a:rPr lang="en-GB" noProof="0"/>
              <a:t>Click icon to add picture</a:t>
            </a:r>
          </a:p>
        </p:txBody>
      </p:sp>
      <p:cxnSp>
        <p:nvCxnSpPr>
          <p:cNvPr id="15" name="Rechte verbindingslijn 21"/>
          <p:cNvCxnSpPr/>
          <p:nvPr userDrawn="1"/>
        </p:nvCxnSpPr>
        <p:spPr>
          <a:xfrm>
            <a:off x="-712" y="6597352"/>
            <a:ext cx="12192712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ijdelijke aanduiding voor tekst 2">
            <a:extLst>
              <a:ext uri="{FF2B5EF4-FFF2-40B4-BE49-F238E27FC236}">
                <a16:creationId xmlns:a16="http://schemas.microsoft.com/office/drawing/2014/main" id="{0E5CF3AE-6E0F-4C2B-87BC-3F7C33DBE67B}"/>
              </a:ext>
            </a:extLst>
          </p:cNvPr>
          <p:cNvSpPr>
            <a:spLocks noGrp="1"/>
          </p:cNvSpPr>
          <p:nvPr>
            <p:ph type="body" idx="11" hasCustomPrompt="1"/>
          </p:nvPr>
        </p:nvSpPr>
        <p:spPr>
          <a:xfrm>
            <a:off x="432728" y="1449641"/>
            <a:ext cx="4741089" cy="2152079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 algn="l">
              <a:buNone/>
              <a:defRPr sz="3200">
                <a:solidFill>
                  <a:schemeClr val="accent4"/>
                </a:solidFill>
                <a:latin typeface="+mj-lt"/>
                <a:cs typeface="Arial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noProof="0"/>
              <a:t>Click to add text</a:t>
            </a:r>
          </a:p>
        </p:txBody>
      </p:sp>
      <p:sp>
        <p:nvSpPr>
          <p:cNvPr id="16" name="Rechthoek 12">
            <a:extLst>
              <a:ext uri="{FF2B5EF4-FFF2-40B4-BE49-F238E27FC236}">
                <a16:creationId xmlns:a16="http://schemas.microsoft.com/office/drawing/2014/main" id="{12B97E99-64A3-4368-8091-B265B565BE62}"/>
              </a:ext>
            </a:extLst>
          </p:cNvPr>
          <p:cNvSpPr/>
          <p:nvPr userDrawn="1"/>
        </p:nvSpPr>
        <p:spPr>
          <a:xfrm>
            <a:off x="0" y="438913"/>
            <a:ext cx="12192000" cy="707675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1800" noProof="0">
              <a:solidFill>
                <a:prstClr val="white"/>
              </a:solidFill>
            </a:endParaRPr>
          </a:p>
        </p:txBody>
      </p:sp>
      <p:pic>
        <p:nvPicPr>
          <p:cNvPr id="18" name="Picture 764">
            <a:extLst>
              <a:ext uri="{FF2B5EF4-FFF2-40B4-BE49-F238E27FC236}">
                <a16:creationId xmlns:a16="http://schemas.microsoft.com/office/drawing/2014/main" id="{BB2923F7-C45A-404A-9E46-05A59C2CB6C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92904" y="-1"/>
            <a:ext cx="1171609" cy="8787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9" name="Titel 1">
            <a:extLst>
              <a:ext uri="{FF2B5EF4-FFF2-40B4-BE49-F238E27FC236}">
                <a16:creationId xmlns:a16="http://schemas.microsoft.com/office/drawing/2014/main" id="{BE444640-26E2-434F-822D-FDBC982DED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721" y="502143"/>
            <a:ext cx="9945719" cy="5744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000" b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 noProof="0"/>
              <a:t>Click to add a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EEE82AB-AA72-4899-B41D-5F7CB3A1E85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49547" y="3957639"/>
            <a:ext cx="3778251" cy="2351087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69FEBD1-9C28-41ED-81AC-07C425923FC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 noProof="0"/>
              <a:t>MACHC20-07.5 - 5 Dec 2019</a:t>
            </a:r>
          </a:p>
        </p:txBody>
      </p:sp>
    </p:spTree>
    <p:extLst>
      <p:ext uri="{BB962C8B-B14F-4D97-AF65-F5344CB8AC3E}">
        <p14:creationId xmlns:p14="http://schemas.microsoft.com/office/powerpoint/2010/main" val="137994102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12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ext with 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hoek 12"/>
          <p:cNvSpPr/>
          <p:nvPr userDrawn="1"/>
        </p:nvSpPr>
        <p:spPr>
          <a:xfrm>
            <a:off x="0" y="438913"/>
            <a:ext cx="12192000" cy="707675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1800" noProof="0">
              <a:solidFill>
                <a:prstClr val="white"/>
              </a:solidFill>
            </a:endParaRPr>
          </a:p>
        </p:txBody>
      </p:sp>
      <p:pic>
        <p:nvPicPr>
          <p:cNvPr id="13" name="Picture 764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04512" y="0"/>
            <a:ext cx="960000" cy="72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764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92904" y="-1"/>
            <a:ext cx="1171609" cy="8787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6" name="Rechte verbindingslijn 21"/>
          <p:cNvCxnSpPr/>
          <p:nvPr userDrawn="1"/>
        </p:nvCxnSpPr>
        <p:spPr>
          <a:xfrm>
            <a:off x="-712" y="6597352"/>
            <a:ext cx="12192712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426721" y="502143"/>
            <a:ext cx="9945719" cy="5744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000" b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 noProof="0"/>
              <a:t>Click to add a title</a:t>
            </a:r>
          </a:p>
        </p:txBody>
      </p:sp>
      <p:sp>
        <p:nvSpPr>
          <p:cNvPr id="20" name="Tijdelijke aanduiding voor tekst 14">
            <a:extLst>
              <a:ext uri="{FF2B5EF4-FFF2-40B4-BE49-F238E27FC236}">
                <a16:creationId xmlns:a16="http://schemas.microsoft.com/office/drawing/2014/main" id="{55C9C925-3CEE-4680-AD15-6D7990E4B695}"/>
              </a:ext>
            </a:extLst>
          </p:cNvPr>
          <p:cNvSpPr>
            <a:spLocks noGrp="1"/>
          </p:cNvSpPr>
          <p:nvPr>
            <p:ph type="body" idx="10"/>
          </p:nvPr>
        </p:nvSpPr>
        <p:spPr>
          <a:xfrm>
            <a:off x="6868654" y="3647880"/>
            <a:ext cx="4795965" cy="270726"/>
          </a:xfrm>
          <a:prstGeom prst="rect">
            <a:avLst/>
          </a:prstGeom>
        </p:spPr>
        <p:txBody>
          <a:bodyPr>
            <a:noAutofit/>
          </a:bodyPr>
          <a:lstStyle>
            <a:lvl1pPr marL="0" indent="0" eaLnBrk="1">
              <a:buFontTx/>
              <a:buNone/>
              <a:defRPr sz="1000" i="1"/>
            </a:lvl1pPr>
          </a:lstStyle>
          <a:p>
            <a:endParaRPr lang="en-GB" noProof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Tijdelijke aanduiding voor tekst 15">
            <a:extLst>
              <a:ext uri="{FF2B5EF4-FFF2-40B4-BE49-F238E27FC236}">
                <a16:creationId xmlns:a16="http://schemas.microsoft.com/office/drawing/2014/main" id="{B362C752-1D40-4D56-9E5D-34313F5FAB1C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6868654" y="6138019"/>
            <a:ext cx="4795965" cy="18611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eaLnBrk="1">
              <a:buFontTx/>
              <a:buNone/>
              <a:defRPr sz="1000" i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noProof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02BA664-8E2F-4FF8-AE52-5AD1843929B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864351" y="1484313"/>
            <a:ext cx="4800600" cy="2161074"/>
          </a:xfrm>
          <a:prstGeom prst="rect">
            <a:avLst/>
          </a:prstGeom>
          <a:solidFill>
            <a:srgbClr val="BBC7D0"/>
          </a:solidFill>
        </p:spPr>
        <p:txBody>
          <a:bodyPr anchor="ctr" anchorCtr="1"/>
          <a:lstStyle>
            <a:lvl1pPr marL="0" indent="0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92B5E810-1494-4BB1-82A7-A000A34651E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863912" y="3948006"/>
            <a:ext cx="4800600" cy="2160000"/>
          </a:xfrm>
          <a:prstGeom prst="rect">
            <a:avLst/>
          </a:prstGeom>
          <a:solidFill>
            <a:srgbClr val="BBC7D0"/>
          </a:solidFill>
        </p:spPr>
        <p:txBody>
          <a:bodyPr anchor="ctr" anchorCtr="1"/>
          <a:lstStyle>
            <a:lvl1pPr marL="0" indent="0">
              <a:buNone/>
              <a:defRPr/>
            </a:lvl1pPr>
          </a:lstStyle>
          <a:p>
            <a:r>
              <a:rPr lang="en-GB" noProof="0"/>
              <a:t>Click icon to add pictu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F1E1B537-E33D-4F09-A11A-CF208CC950BA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31801" y="1454441"/>
            <a:ext cx="5659967" cy="4859337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8922C23-DFD8-4F0C-879F-646F77DDAB63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GB" noProof="0"/>
              <a:t>MACHC20-07.5 - 5 Dec 2019</a:t>
            </a:r>
          </a:p>
        </p:txBody>
      </p:sp>
    </p:spTree>
    <p:extLst>
      <p:ext uri="{BB962C8B-B14F-4D97-AF65-F5344CB8AC3E}">
        <p14:creationId xmlns:p14="http://schemas.microsoft.com/office/powerpoint/2010/main" val="94602406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13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- Blue backgroun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94DBA2E6-22A7-4651-9E57-13FAFDF79D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51408" y="3458796"/>
            <a:ext cx="8977067" cy="1291498"/>
          </a:xfrm>
          <a:prstGeom prst="rect">
            <a:avLst/>
          </a:prstGeom>
        </p:spPr>
        <p:txBody>
          <a:bodyPr wrap="square" tIns="7200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1" kern="1200" cap="none" baseline="0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80000"/>
              </a:lnSpc>
              <a:spcBef>
                <a:spcPts val="3600"/>
              </a:spcBef>
              <a:buFont typeface="Arial" panose="020B0604020202020204" pitchFamily="34" charset="0"/>
              <a:buNone/>
              <a:defRPr lang="en-US" sz="2200" kern="1200" dirty="0" smtClean="0">
                <a:solidFill>
                  <a:schemeClr val="bg1"/>
                </a:solidFill>
                <a:latin typeface="+mn-lt"/>
                <a:ea typeface="+mn-ea"/>
                <a:cs typeface="Segoe UI Semibold" panose="020B0702040204020203" pitchFamily="34" charset="0"/>
              </a:defRPr>
            </a:lvl2pPr>
          </a:lstStyle>
          <a:p>
            <a:pPr lvl="0"/>
            <a:r>
              <a:rPr lang="en-US"/>
              <a:t>Move up and down or delete quotation mark as needed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49BD6C4-D1A6-45EB-A778-99AEC9DD3449}"/>
              </a:ext>
            </a:extLst>
          </p:cNvPr>
          <p:cNvCxnSpPr>
            <a:cxnSpLocks/>
          </p:cNvCxnSpPr>
          <p:nvPr userDrawn="1"/>
        </p:nvCxnSpPr>
        <p:spPr>
          <a:xfrm>
            <a:off x="1351156" y="5059979"/>
            <a:ext cx="718226" cy="0"/>
          </a:xfrm>
          <a:prstGeom prst="line">
            <a:avLst/>
          </a:prstGeom>
          <a:ln w="285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D30A8C-B1D5-40FF-9B6F-23D0DE4EAE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363915" y="5368925"/>
            <a:ext cx="8977067" cy="4302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B3084B8-6AB8-4793-8C29-A7FB2C8A8F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23581" y="6287016"/>
            <a:ext cx="828632" cy="371503"/>
          </a:xfrm>
          <a:prstGeom prst="rect">
            <a:avLst/>
          </a:prstGeom>
        </p:spPr>
      </p:pic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A5CE3BDD-AD88-4DEF-A223-75BBCF670E9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63915" y="1968183"/>
            <a:ext cx="869556" cy="724630"/>
          </a:xfrm>
          <a:prstGeom prst="rect">
            <a:avLst/>
          </a:pr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3822078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ext only with double head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hthoek 12"/>
          <p:cNvSpPr/>
          <p:nvPr userDrawn="1"/>
        </p:nvSpPr>
        <p:spPr>
          <a:xfrm>
            <a:off x="0" y="438913"/>
            <a:ext cx="12192000" cy="707675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1800" noProof="0">
              <a:solidFill>
                <a:prstClr val="white"/>
              </a:solidFill>
            </a:endParaRPr>
          </a:p>
        </p:txBody>
      </p:sp>
      <p:pic>
        <p:nvPicPr>
          <p:cNvPr id="13" name="Picture 764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04512" y="0"/>
            <a:ext cx="960000" cy="72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764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92904" y="-1"/>
            <a:ext cx="1171609" cy="8787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16" name="Rechte verbindingslijn 21"/>
          <p:cNvCxnSpPr/>
          <p:nvPr userDrawn="1"/>
        </p:nvCxnSpPr>
        <p:spPr>
          <a:xfrm>
            <a:off x="-712" y="6597352"/>
            <a:ext cx="12192712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itel 1"/>
          <p:cNvSpPr>
            <a:spLocks noGrp="1"/>
          </p:cNvSpPr>
          <p:nvPr userDrawn="1">
            <p:ph type="title" hasCustomPrompt="1"/>
          </p:nvPr>
        </p:nvSpPr>
        <p:spPr>
          <a:xfrm>
            <a:off x="426721" y="502143"/>
            <a:ext cx="9945719" cy="5744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000" b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 noProof="0"/>
              <a:t>Click to add a tit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98843F0-4685-4FC2-9B0C-F243BAB65ED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1800" y="1451638"/>
            <a:ext cx="11220451" cy="4859337"/>
          </a:xfrm>
          <a:prstGeom prst="rect">
            <a:avLst/>
          </a:prstGeom>
        </p:spPr>
        <p:txBody>
          <a:bodyPr>
            <a:noAutofit/>
          </a:bodyPr>
          <a:lstStyle>
            <a:lvl5pPr marL="2057400" indent="-228600">
              <a:buFont typeface="Wingdings" panose="05000000000000000000" pitchFamily="2" charset="2"/>
              <a:buChar char="§"/>
              <a:defRPr sz="1600"/>
            </a:lvl5pPr>
          </a:lstStyle>
          <a:p>
            <a:pPr lvl="0"/>
            <a:r>
              <a:rPr lang="en-GB" noProof="0"/>
              <a:t>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1A2835D-E44B-4FC4-BE3F-7F23982D4A6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 noProof="0"/>
              <a:t>MACHC20-07.5 - 5 Dec 2019</a:t>
            </a:r>
          </a:p>
        </p:txBody>
      </p:sp>
    </p:spTree>
    <p:extLst>
      <p:ext uri="{BB962C8B-B14F-4D97-AF65-F5344CB8AC3E}">
        <p14:creationId xmlns:p14="http://schemas.microsoft.com/office/powerpoint/2010/main" val="318008478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913">
          <p15:clr>
            <a:srgbClr val="FBAE40"/>
          </p15:clr>
        </p15:guide>
        <p15:guide id="2" orient="horz" pos="4247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Blank page or text only wide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7" name="Object 2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Text Box 14"/>
          <p:cNvSpPr txBox="1">
            <a:spLocks noChangeArrowheads="1"/>
          </p:cNvSpPr>
          <p:nvPr userDrawn="1"/>
        </p:nvSpPr>
        <p:spPr bwMode="auto">
          <a:xfrm>
            <a:off x="10231969" y="6522646"/>
            <a:ext cx="1479551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800">
                <a:solidFill>
                  <a:srgbClr val="437C92"/>
                </a:solidFill>
                <a:latin typeface="Arial" pitchFamily="34" charset="0"/>
                <a:ea typeface="+mn-ea"/>
                <a:cs typeface="Arial" pitchFamily="34" charset="0"/>
              </a:rPr>
              <a:t>www.fugro.com</a:t>
            </a:r>
          </a:p>
        </p:txBody>
      </p:sp>
      <p:sp>
        <p:nvSpPr>
          <p:cNvPr id="21" name="Rechthoek 20"/>
          <p:cNvSpPr/>
          <p:nvPr userDrawn="1"/>
        </p:nvSpPr>
        <p:spPr>
          <a:xfrm>
            <a:off x="536959" y="6522645"/>
            <a:ext cx="309700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fld id="{242D2C83-8A77-4AFB-8AD4-2A5FEF35BFFB}" type="slidenum">
              <a:rPr lang="en-GB" altLang="en-US" sz="800" smtClean="0">
                <a:solidFill>
                  <a:srgbClr val="437C92"/>
                </a:solidFill>
              </a:rPr>
              <a:pPr algn="r"/>
              <a:t>‹#›</a:t>
            </a:fld>
            <a:endParaRPr lang="en-GB" altLang="en-US" sz="800">
              <a:solidFill>
                <a:srgbClr val="437C92"/>
              </a:solidFill>
            </a:endParaRPr>
          </a:p>
        </p:txBody>
      </p:sp>
      <p:cxnSp>
        <p:nvCxnSpPr>
          <p:cNvPr id="23" name="Rechte verbindingslijn 22"/>
          <p:cNvCxnSpPr>
            <a:cxnSpLocks/>
          </p:cNvCxnSpPr>
          <p:nvPr userDrawn="1"/>
        </p:nvCxnSpPr>
        <p:spPr>
          <a:xfrm>
            <a:off x="0" y="6522645"/>
            <a:ext cx="12192000" cy="0"/>
          </a:xfrm>
          <a:prstGeom prst="line">
            <a:avLst/>
          </a:prstGeom>
          <a:ln w="9525">
            <a:solidFill>
              <a:srgbClr val="437C9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jdelijke aanduiding voor tekst 2"/>
          <p:cNvSpPr>
            <a:spLocks noGrp="1"/>
          </p:cNvSpPr>
          <p:nvPr>
            <p:ph type="body" sz="quarter" idx="13" hasCustomPrompt="1"/>
          </p:nvPr>
        </p:nvSpPr>
        <p:spPr>
          <a:xfrm>
            <a:off x="478369" y="1412709"/>
            <a:ext cx="11233151" cy="4800600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4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nl-NL"/>
              <a:t>Click </a:t>
            </a:r>
            <a:r>
              <a:rPr lang="nl-NL" err="1"/>
              <a:t>to</a:t>
            </a:r>
            <a:r>
              <a:rPr lang="nl-NL"/>
              <a:t> </a:t>
            </a:r>
            <a:r>
              <a:rPr lang="nl-NL" err="1"/>
              <a:t>add</a:t>
            </a:r>
            <a:r>
              <a:rPr lang="nl-NL"/>
              <a:t> </a:t>
            </a:r>
            <a:r>
              <a:rPr lang="nl-NL" err="1"/>
              <a:t>text</a:t>
            </a:r>
            <a:endParaRPr lang="nl-NL"/>
          </a:p>
        </p:txBody>
      </p:sp>
      <p:sp>
        <p:nvSpPr>
          <p:cNvPr id="24" name="Rechthoek 12">
            <a:extLst>
              <a:ext uri="{FF2B5EF4-FFF2-40B4-BE49-F238E27FC236}">
                <a16:creationId xmlns:a16="http://schemas.microsoft.com/office/drawing/2014/main" id="{7153C7AC-8F73-4FE3-802C-38B0F4D71BC5}"/>
              </a:ext>
            </a:extLst>
          </p:cNvPr>
          <p:cNvSpPr/>
          <p:nvPr userDrawn="1"/>
        </p:nvSpPr>
        <p:spPr>
          <a:xfrm>
            <a:off x="0" y="438913"/>
            <a:ext cx="12192000" cy="707675"/>
          </a:xfrm>
          <a:prstGeom prst="rect">
            <a:avLst/>
          </a:prstGeom>
          <a:solidFill>
            <a:srgbClr val="437C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/>
            <a:endParaRPr lang="en-GB" sz="1800" noProof="0">
              <a:solidFill>
                <a:prstClr val="white"/>
              </a:solidFill>
            </a:endParaRPr>
          </a:p>
        </p:txBody>
      </p:sp>
      <p:sp>
        <p:nvSpPr>
          <p:cNvPr id="26" name="Titel 1">
            <a:extLst>
              <a:ext uri="{FF2B5EF4-FFF2-40B4-BE49-F238E27FC236}">
                <a16:creationId xmlns:a16="http://schemas.microsoft.com/office/drawing/2014/main" id="{C3CEBEBF-48F4-4DA6-9721-CA200E80E62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26721" y="502143"/>
            <a:ext cx="9945719" cy="574468"/>
          </a:xfrm>
          <a:prstGeom prst="rect">
            <a:avLst/>
          </a:prstGeom>
        </p:spPr>
        <p:txBody>
          <a:bodyPr>
            <a:noAutofit/>
          </a:bodyPr>
          <a:lstStyle>
            <a:lvl1pPr algn="l">
              <a:defRPr sz="2000" b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r>
              <a:rPr lang="en-GB" noProof="0"/>
              <a:t>Click to add a title</a:t>
            </a:r>
          </a:p>
        </p:txBody>
      </p:sp>
      <p:pic>
        <p:nvPicPr>
          <p:cNvPr id="28" name="Picture 764">
            <a:extLst>
              <a:ext uri="{FF2B5EF4-FFF2-40B4-BE49-F238E27FC236}">
                <a16:creationId xmlns:a16="http://schemas.microsoft.com/office/drawing/2014/main" id="{8A577D1B-86E2-4923-A98F-603E4CCDC9F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492904" y="-1"/>
            <a:ext cx="1171609" cy="8787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361428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- Aqua backgrou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94DBA2E6-22A7-4651-9E57-13FAFDF79D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51408" y="3458797"/>
            <a:ext cx="8977067" cy="1291498"/>
          </a:xfrm>
          <a:prstGeom prst="rect">
            <a:avLst/>
          </a:prstGeom>
        </p:spPr>
        <p:txBody>
          <a:bodyPr wrap="square" tIns="7200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1" kern="1200" cap="none" baseline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80000"/>
              </a:lnSpc>
              <a:spcBef>
                <a:spcPts val="3600"/>
              </a:spcBef>
              <a:buFont typeface="Arial" panose="020B0604020202020204" pitchFamily="34" charset="0"/>
              <a:buNone/>
              <a:defRPr lang="en-US" sz="2200" kern="1200" dirty="0" smtClean="0">
                <a:solidFill>
                  <a:schemeClr val="bg1"/>
                </a:solidFill>
                <a:latin typeface="+mn-lt"/>
                <a:ea typeface="+mn-ea"/>
                <a:cs typeface="Segoe UI Semibold" panose="020B0702040204020203" pitchFamily="34" charset="0"/>
              </a:defRPr>
            </a:lvl2pPr>
          </a:lstStyle>
          <a:p>
            <a:pPr lvl="0"/>
            <a:r>
              <a:rPr lang="en-US"/>
              <a:t>Move up and down or delete quotation mark as needed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49BD6C4-D1A6-45EB-A778-99AEC9DD3449}"/>
              </a:ext>
            </a:extLst>
          </p:cNvPr>
          <p:cNvCxnSpPr>
            <a:cxnSpLocks/>
          </p:cNvCxnSpPr>
          <p:nvPr userDrawn="1"/>
        </p:nvCxnSpPr>
        <p:spPr>
          <a:xfrm>
            <a:off x="1351156" y="5059979"/>
            <a:ext cx="718226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D30A8C-B1D5-40FF-9B6F-23D0DE4EAE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363915" y="5368925"/>
            <a:ext cx="8977067" cy="4302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B3084B8-6AB8-4793-8C29-A7FB2C8A8F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23581" y="6287016"/>
            <a:ext cx="828632" cy="371503"/>
          </a:xfrm>
          <a:prstGeom prst="rect">
            <a:avLst/>
          </a:prstGeom>
        </p:spPr>
      </p:pic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D4B27C62-68F7-4A8A-80ED-164663FCBFF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63915" y="1968183"/>
            <a:ext cx="869556" cy="724630"/>
          </a:xfrm>
          <a:prstGeom prst="rect">
            <a:avLst/>
          </a:pr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344280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- Green background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94DBA2E6-22A7-4651-9E57-13FAFDF79D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51408" y="3458796"/>
            <a:ext cx="8977067" cy="1291498"/>
          </a:xfrm>
          <a:prstGeom prst="rect">
            <a:avLst/>
          </a:prstGeom>
        </p:spPr>
        <p:txBody>
          <a:bodyPr wrap="square" tIns="7200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1" kern="1200" cap="none" baseline="0" dirty="0" smtClean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80000"/>
              </a:lnSpc>
              <a:spcBef>
                <a:spcPts val="3600"/>
              </a:spcBef>
              <a:buFont typeface="Arial" panose="020B0604020202020204" pitchFamily="34" charset="0"/>
              <a:buNone/>
              <a:defRPr lang="en-US" sz="2200" kern="1200" dirty="0" smtClean="0">
                <a:solidFill>
                  <a:schemeClr val="bg1"/>
                </a:solidFill>
                <a:latin typeface="+mn-lt"/>
                <a:ea typeface="+mn-ea"/>
                <a:cs typeface="Segoe UI Semibold" panose="020B0702040204020203" pitchFamily="34" charset="0"/>
              </a:defRPr>
            </a:lvl2pPr>
          </a:lstStyle>
          <a:p>
            <a:pPr lvl="0"/>
            <a:r>
              <a:rPr lang="en-US"/>
              <a:t>Move up and down or delete quotation mark as needed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49BD6C4-D1A6-45EB-A778-99AEC9DD3449}"/>
              </a:ext>
            </a:extLst>
          </p:cNvPr>
          <p:cNvCxnSpPr>
            <a:cxnSpLocks/>
          </p:cNvCxnSpPr>
          <p:nvPr userDrawn="1"/>
        </p:nvCxnSpPr>
        <p:spPr>
          <a:xfrm>
            <a:off x="1351156" y="5059979"/>
            <a:ext cx="718226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6D30A8C-B1D5-40FF-9B6F-23D0DE4EAE8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363915" y="5368925"/>
            <a:ext cx="8977067" cy="43021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B3084B8-6AB8-4793-8C29-A7FB2C8A8F3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23581" y="6287016"/>
            <a:ext cx="828632" cy="371503"/>
          </a:xfrm>
          <a:prstGeom prst="rect">
            <a:avLst/>
          </a:prstGeom>
        </p:spPr>
      </p:pic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0C46AAAF-7A16-49CC-948E-D52303F9961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63915" y="1968183"/>
            <a:ext cx="869556" cy="724630"/>
          </a:xfrm>
          <a:prstGeom prst="rect">
            <a:avLst/>
          </a:prstGeom>
          <a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solidFill>
                  <a:schemeClr val="accent4">
                    <a:alpha val="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59504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 - Image/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>
            <a:extLst>
              <a:ext uri="{FF2B5EF4-FFF2-40B4-BE49-F238E27FC236}">
                <a16:creationId xmlns:a16="http://schemas.microsoft.com/office/drawing/2014/main" id="{6C38E76A-0E5C-47DC-AF6A-1C4BB2BD6784}"/>
              </a:ext>
            </a:extLst>
          </p:cNvPr>
          <p:cNvGrpSpPr/>
          <p:nvPr userDrawn="1"/>
        </p:nvGrpSpPr>
        <p:grpSpPr>
          <a:xfrm>
            <a:off x="-2878934" y="2864682"/>
            <a:ext cx="2685426" cy="3972150"/>
            <a:chOff x="-3213913" y="2727414"/>
            <a:chExt cx="2685426" cy="3972150"/>
          </a:xfrm>
        </p:grpSpPr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15222986-B194-4CDF-BBA2-501977ABF1F0}"/>
                </a:ext>
              </a:extLst>
            </p:cNvPr>
            <p:cNvGrpSpPr/>
            <p:nvPr userDrawn="1"/>
          </p:nvGrpSpPr>
          <p:grpSpPr>
            <a:xfrm>
              <a:off x="-3213913" y="2727414"/>
              <a:ext cx="2685426" cy="3972150"/>
              <a:chOff x="-3171151" y="1910451"/>
              <a:chExt cx="2685426" cy="3972150"/>
            </a:xfrm>
          </p:grpSpPr>
          <p:sp>
            <p:nvSpPr>
              <p:cNvPr id="15" name="TextBox 14">
                <a:extLst>
                  <a:ext uri="{FF2B5EF4-FFF2-40B4-BE49-F238E27FC236}">
                    <a16:creationId xmlns:a16="http://schemas.microsoft.com/office/drawing/2014/main" id="{21EBE303-DE72-4223-8BB4-7013A3C2589E}"/>
                  </a:ext>
                </a:extLst>
              </p:cNvPr>
              <p:cNvSpPr txBox="1"/>
              <p:nvPr userDrawn="1"/>
            </p:nvSpPr>
            <p:spPr>
              <a:xfrm>
                <a:off x="-3171151" y="1910451"/>
                <a:ext cx="2685425" cy="15696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AU" sz="1200">
                    <a:latin typeface="+mj-lt"/>
                  </a:rPr>
                  <a:t>To change section numbers:</a:t>
                </a:r>
              </a:p>
              <a:p>
                <a:r>
                  <a:rPr lang="en-AU" sz="1200"/>
                  <a:t>Under the home menu in the ribbon, in the paragraph section 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AU" sz="1200"/>
                  <a:t>click on the drop down </a:t>
                </a:r>
                <a:br>
                  <a:rPr lang="en-AU" sz="1200"/>
                </a:br>
                <a:r>
                  <a:rPr lang="en-AU" sz="1200"/>
                  <a:t>arrow in ‘numbering’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AU" sz="1200"/>
                  <a:t>Select ‘ bullets and numbering’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AU" sz="1200"/>
                  <a:t>Use the arrows to change the starting number</a:t>
                </a:r>
              </a:p>
            </p:txBody>
          </p:sp>
          <p:pic>
            <p:nvPicPr>
              <p:cNvPr id="16" name="Picture 15">
                <a:extLst>
                  <a:ext uri="{FF2B5EF4-FFF2-40B4-BE49-F238E27FC236}">
                    <a16:creationId xmlns:a16="http://schemas.microsoft.com/office/drawing/2014/main" id="{B4C1453D-B1E4-4A41-822B-6DF92389ECCA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1484"/>
              <a:stretch/>
            </p:blipFill>
            <p:spPr>
              <a:xfrm>
                <a:off x="-3171150" y="3510960"/>
                <a:ext cx="2685425" cy="237164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8" name="Picture 17">
                <a:extLst>
                  <a:ext uri="{FF2B5EF4-FFF2-40B4-BE49-F238E27FC236}">
                    <a16:creationId xmlns:a16="http://schemas.microsoft.com/office/drawing/2014/main" id="{83C0951A-F753-4A77-A3F9-A44B860CC115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"/>
              <a:stretch>
                <a:fillRect/>
              </a:stretch>
            </p:blipFill>
            <p:spPr>
              <a:xfrm>
                <a:off x="-1207427" y="2529854"/>
                <a:ext cx="361950" cy="276225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sp>
          <p:nvSpPr>
            <p:cNvPr id="22" name="Freeform: Shape 21">
              <a:extLst>
                <a:ext uri="{FF2B5EF4-FFF2-40B4-BE49-F238E27FC236}">
                  <a16:creationId xmlns:a16="http://schemas.microsoft.com/office/drawing/2014/main" id="{D777FA05-C380-4802-B012-340C0C126CD1}"/>
                </a:ext>
              </a:extLst>
            </p:cNvPr>
            <p:cNvSpPr/>
            <p:nvPr userDrawn="1"/>
          </p:nvSpPr>
          <p:spPr>
            <a:xfrm>
              <a:off x="-3213913" y="4327923"/>
              <a:ext cx="2685425" cy="2371641"/>
            </a:xfrm>
            <a:custGeom>
              <a:avLst/>
              <a:gdLst>
                <a:gd name="connsiteX0" fmla="*/ 1769003 w 2685425"/>
                <a:gd name="connsiteY0" fmla="*/ 1701685 h 2371641"/>
                <a:gd name="connsiteX1" fmla="*/ 1769003 w 2685425"/>
                <a:gd name="connsiteY1" fmla="*/ 1900861 h 2371641"/>
                <a:gd name="connsiteX2" fmla="*/ 2571117 w 2685425"/>
                <a:gd name="connsiteY2" fmla="*/ 1900861 h 2371641"/>
                <a:gd name="connsiteX3" fmla="*/ 2571117 w 2685425"/>
                <a:gd name="connsiteY3" fmla="*/ 1701685 h 2371641"/>
                <a:gd name="connsiteX4" fmla="*/ 0 w 2685425"/>
                <a:gd name="connsiteY4" fmla="*/ 0 h 2371641"/>
                <a:gd name="connsiteX5" fmla="*/ 2685425 w 2685425"/>
                <a:gd name="connsiteY5" fmla="*/ 0 h 2371641"/>
                <a:gd name="connsiteX6" fmla="*/ 2685425 w 2685425"/>
                <a:gd name="connsiteY6" fmla="*/ 2371641 h 2371641"/>
                <a:gd name="connsiteX7" fmla="*/ 0 w 2685425"/>
                <a:gd name="connsiteY7" fmla="*/ 2371641 h 237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85425" h="2371641">
                  <a:moveTo>
                    <a:pt x="1769003" y="1701685"/>
                  </a:moveTo>
                  <a:lnTo>
                    <a:pt x="1769003" y="1900861"/>
                  </a:lnTo>
                  <a:lnTo>
                    <a:pt x="2571117" y="1900861"/>
                  </a:lnTo>
                  <a:lnTo>
                    <a:pt x="2571117" y="1701685"/>
                  </a:lnTo>
                  <a:close/>
                  <a:moveTo>
                    <a:pt x="0" y="0"/>
                  </a:moveTo>
                  <a:lnTo>
                    <a:pt x="2685425" y="0"/>
                  </a:lnTo>
                  <a:lnTo>
                    <a:pt x="2685425" y="2371641"/>
                  </a:lnTo>
                  <a:lnTo>
                    <a:pt x="0" y="2371641"/>
                  </a:lnTo>
                  <a:close/>
                </a:path>
              </a:pathLst>
            </a:custGeom>
            <a:solidFill>
              <a:srgbClr val="000000">
                <a:alpha val="4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E539EAB8-624A-4BA9-81EA-D3C01758735B}"/>
              </a:ext>
            </a:extLst>
          </p:cNvPr>
          <p:cNvSpPr/>
          <p:nvPr userDrawn="1"/>
        </p:nvSpPr>
        <p:spPr>
          <a:xfrm>
            <a:off x="5626358" y="1746017"/>
            <a:ext cx="6565642" cy="3834882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1163BE28-18CA-420A-A008-9FFEA87F11AD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1746018"/>
            <a:ext cx="5626358" cy="3834882"/>
          </a:xfrm>
          <a:prstGeom prst="rect">
            <a:avLst/>
          </a:prstGeom>
          <a:solidFill>
            <a:schemeClr val="bg2"/>
          </a:solidFill>
        </p:spPr>
        <p:txBody>
          <a:bodyPr lIns="72000" tIns="72000" rIns="72000" bIns="72000"/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0131425" algn="l"/>
              </a:tabLst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/>
              <a:t>Click on the icon to insert picture</a:t>
            </a:r>
            <a:br>
              <a:rPr lang="en-AU"/>
            </a:br>
            <a:endParaRPr lang="en-AU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2ECAD92-B00F-42A2-AE7D-22A0F33543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38247" y="3149316"/>
            <a:ext cx="4741863" cy="1414683"/>
          </a:xfrm>
          <a:prstGeom prst="rect">
            <a:avLst/>
          </a:prstGeom>
        </p:spPr>
        <p:txBody>
          <a:bodyPr anchor="ctr">
            <a:spAutoFit/>
          </a:bodyPr>
          <a:lstStyle>
            <a:lvl1pPr marL="446088" indent="-4460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4"/>
              </a:buClr>
              <a:buFont typeface="+mj-lt"/>
              <a:buAutoNum type="arabicPeriod"/>
              <a:defRPr lang="en-US" sz="3600" kern="1200" cap="none" smtClean="0">
                <a:solidFill>
                  <a:prstClr val="white"/>
                </a:solidFill>
                <a:latin typeface="+mj-lt"/>
                <a:ea typeface="+mj-ea"/>
                <a:cs typeface="+mj-cs"/>
              </a:defRPr>
            </a:lvl1pPr>
            <a:lvl2pPr marL="444500" indent="0" algn="l" defTabSz="914400" rtl="0" eaLnBrk="1" latinLnBrk="0" hangingPunct="1">
              <a:lnSpc>
                <a:spcPct val="70000"/>
              </a:lnSpc>
              <a:spcBef>
                <a:spcPts val="1200"/>
              </a:spcBef>
              <a:buClr>
                <a:schemeClr val="accent4"/>
              </a:buClr>
              <a:buNone/>
              <a:defRPr lang="en-US" sz="2400" kern="1200" dirty="0" smtClean="0">
                <a:solidFill>
                  <a:schemeClr val="accent4"/>
                </a:solidFill>
                <a:latin typeface="+mn-lt"/>
                <a:ea typeface="+mj-ea"/>
                <a:cs typeface="+mj-cs"/>
              </a:defRPr>
            </a:lvl2pPr>
            <a:lvl3pPr marL="712788" algn="l" defTabSz="914400" rtl="0" eaLnBrk="1" latinLnBrk="0" hangingPunct="1">
              <a:lnSpc>
                <a:spcPct val="70000"/>
              </a:lnSpc>
              <a:spcBef>
                <a:spcPts val="1200"/>
              </a:spcBef>
              <a:buClr>
                <a:schemeClr val="accent4"/>
              </a:buClr>
              <a:defRPr lang="en-US" sz="2400" kern="1200" dirty="0" smtClean="0">
                <a:solidFill>
                  <a:srgbClr val="71984A"/>
                </a:solidFill>
                <a:latin typeface="+mn-lt"/>
                <a:ea typeface="+mj-ea"/>
                <a:cs typeface="+mj-cs"/>
              </a:defRPr>
            </a:lvl3pPr>
            <a:lvl4pPr marL="712788" algn="l" defTabSz="914400" rtl="0" eaLnBrk="1" latinLnBrk="0" hangingPunct="1">
              <a:lnSpc>
                <a:spcPct val="70000"/>
              </a:lnSpc>
              <a:spcBef>
                <a:spcPts val="1200"/>
              </a:spcBef>
              <a:buClr>
                <a:schemeClr val="accent4"/>
              </a:buClr>
              <a:defRPr lang="en-US" sz="2400" kern="1200" dirty="0" smtClean="0">
                <a:solidFill>
                  <a:srgbClr val="71984A"/>
                </a:solidFill>
                <a:latin typeface="+mn-lt"/>
                <a:ea typeface="+mj-ea"/>
                <a:cs typeface="+mj-cs"/>
              </a:defRPr>
            </a:lvl4pPr>
            <a:lvl5pPr marL="712788" algn="l" defTabSz="914400" rtl="0" eaLnBrk="1" latinLnBrk="0" hangingPunct="1">
              <a:lnSpc>
                <a:spcPct val="70000"/>
              </a:lnSpc>
              <a:spcBef>
                <a:spcPts val="1200"/>
              </a:spcBef>
              <a:buClr>
                <a:schemeClr val="accent4"/>
              </a:buClr>
              <a:defRPr lang="en-AU" sz="2400" kern="1200" dirty="0">
                <a:solidFill>
                  <a:srgbClr val="71984A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A2A8EF6D-3E70-43E2-857A-F00ABF551AC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67459" y="682683"/>
            <a:ext cx="2056571" cy="909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828796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 - Image/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539EAB8-624A-4BA9-81EA-D3C01758735B}"/>
              </a:ext>
            </a:extLst>
          </p:cNvPr>
          <p:cNvSpPr/>
          <p:nvPr userDrawn="1"/>
        </p:nvSpPr>
        <p:spPr>
          <a:xfrm>
            <a:off x="5626358" y="1746017"/>
            <a:ext cx="6565642" cy="3834882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" name="Picture Placeholder 15">
            <a:extLst>
              <a:ext uri="{FF2B5EF4-FFF2-40B4-BE49-F238E27FC236}">
                <a16:creationId xmlns:a16="http://schemas.microsoft.com/office/drawing/2014/main" id="{1163BE28-18CA-420A-A008-9FFEA87F11AD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1746018"/>
            <a:ext cx="5626358" cy="3834882"/>
          </a:xfrm>
          <a:prstGeom prst="rect">
            <a:avLst/>
          </a:prstGeom>
          <a:solidFill>
            <a:schemeClr val="bg2"/>
          </a:solidFill>
        </p:spPr>
        <p:txBody>
          <a:bodyPr lIns="72000" tIns="72000" rIns="72000" bIns="72000"/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>
                <a:tab pos="10131425" algn="l"/>
              </a:tabLst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AU"/>
              <a:t>Click on the icon to insert picture</a:t>
            </a:r>
            <a:br>
              <a:rPr lang="en-AU"/>
            </a:br>
            <a:endParaRPr lang="en-AU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A2ECAD92-B00F-42A2-AE7D-22A0F335439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38247" y="3149316"/>
            <a:ext cx="4741863" cy="1414683"/>
          </a:xfrm>
          <a:prstGeom prst="rect">
            <a:avLst/>
          </a:prstGeom>
        </p:spPr>
        <p:txBody>
          <a:bodyPr anchor="ctr">
            <a:spAutoFit/>
          </a:bodyPr>
          <a:lstStyle>
            <a:lvl1pPr marL="446088" indent="-446088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Clr>
                <a:schemeClr val="accent1"/>
              </a:buClr>
              <a:buFont typeface="+mj-lt"/>
              <a:buAutoNum type="arabicPeriod"/>
              <a:defRPr lang="en-US" sz="3600" kern="1200" cap="none" smtClean="0">
                <a:solidFill>
                  <a:prstClr val="white"/>
                </a:solidFill>
                <a:latin typeface="+mj-lt"/>
                <a:ea typeface="+mj-ea"/>
                <a:cs typeface="+mj-cs"/>
              </a:defRPr>
            </a:lvl1pPr>
            <a:lvl2pPr marL="444500" indent="0" algn="l" defTabSz="914400" rtl="0" eaLnBrk="1" latinLnBrk="0" hangingPunct="1">
              <a:lnSpc>
                <a:spcPct val="70000"/>
              </a:lnSpc>
              <a:spcBef>
                <a:spcPts val="1200"/>
              </a:spcBef>
              <a:buClr>
                <a:schemeClr val="accent4"/>
              </a:buClr>
              <a:buNone/>
              <a:defRPr lang="en-US" sz="2400" kern="1200" dirty="0" smtClean="0">
                <a:solidFill>
                  <a:schemeClr val="accent1"/>
                </a:solidFill>
                <a:latin typeface="+mn-lt"/>
                <a:ea typeface="+mj-ea"/>
                <a:cs typeface="+mj-cs"/>
              </a:defRPr>
            </a:lvl2pPr>
            <a:lvl3pPr marL="712788" algn="l" defTabSz="914400" rtl="0" eaLnBrk="1" latinLnBrk="0" hangingPunct="1">
              <a:lnSpc>
                <a:spcPct val="70000"/>
              </a:lnSpc>
              <a:spcBef>
                <a:spcPts val="1200"/>
              </a:spcBef>
              <a:buClr>
                <a:schemeClr val="accent4"/>
              </a:buClr>
              <a:defRPr lang="en-US" sz="2400" kern="1200" dirty="0" smtClean="0">
                <a:solidFill>
                  <a:srgbClr val="71984A"/>
                </a:solidFill>
                <a:latin typeface="+mn-lt"/>
                <a:ea typeface="+mj-ea"/>
                <a:cs typeface="+mj-cs"/>
              </a:defRPr>
            </a:lvl3pPr>
            <a:lvl4pPr marL="712788" algn="l" defTabSz="914400" rtl="0" eaLnBrk="1" latinLnBrk="0" hangingPunct="1">
              <a:lnSpc>
                <a:spcPct val="70000"/>
              </a:lnSpc>
              <a:spcBef>
                <a:spcPts val="1200"/>
              </a:spcBef>
              <a:buClr>
                <a:schemeClr val="accent4"/>
              </a:buClr>
              <a:defRPr lang="en-US" sz="2400" kern="1200" dirty="0" smtClean="0">
                <a:solidFill>
                  <a:srgbClr val="71984A"/>
                </a:solidFill>
                <a:latin typeface="+mn-lt"/>
                <a:ea typeface="+mj-ea"/>
                <a:cs typeface="+mj-cs"/>
              </a:defRPr>
            </a:lvl4pPr>
            <a:lvl5pPr marL="712788" algn="l" defTabSz="914400" rtl="0" eaLnBrk="1" latinLnBrk="0" hangingPunct="1">
              <a:lnSpc>
                <a:spcPct val="70000"/>
              </a:lnSpc>
              <a:spcBef>
                <a:spcPts val="1200"/>
              </a:spcBef>
              <a:buClr>
                <a:schemeClr val="accent4"/>
              </a:buClr>
              <a:defRPr lang="en-AU" sz="2400" kern="1200" dirty="0">
                <a:solidFill>
                  <a:srgbClr val="71984A"/>
                </a:solidFill>
                <a:latin typeface="+mn-lt"/>
                <a:ea typeface="+mj-ea"/>
                <a:cs typeface="+mj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C62D088-677D-4B9E-A341-D599DDCF1968}"/>
              </a:ext>
            </a:extLst>
          </p:cNvPr>
          <p:cNvGrpSpPr/>
          <p:nvPr userDrawn="1"/>
        </p:nvGrpSpPr>
        <p:grpSpPr>
          <a:xfrm>
            <a:off x="-2878934" y="2864682"/>
            <a:ext cx="2685426" cy="3972150"/>
            <a:chOff x="-3213913" y="2727414"/>
            <a:chExt cx="2685426" cy="3972150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81870783-AE61-4A6F-A503-64EE030B34F2}"/>
                </a:ext>
              </a:extLst>
            </p:cNvPr>
            <p:cNvGrpSpPr/>
            <p:nvPr userDrawn="1"/>
          </p:nvGrpSpPr>
          <p:grpSpPr>
            <a:xfrm>
              <a:off x="-3213913" y="2727414"/>
              <a:ext cx="2685426" cy="3972150"/>
              <a:chOff x="-3171151" y="1910451"/>
              <a:chExt cx="2685426" cy="3972150"/>
            </a:xfrm>
          </p:grpSpPr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8C2E2979-4C8A-4382-AC60-7AA37B6F7915}"/>
                  </a:ext>
                </a:extLst>
              </p:cNvPr>
              <p:cNvSpPr txBox="1"/>
              <p:nvPr userDrawn="1"/>
            </p:nvSpPr>
            <p:spPr>
              <a:xfrm>
                <a:off x="-3171151" y="1910451"/>
                <a:ext cx="2685425" cy="156966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AU" sz="1200">
                    <a:latin typeface="+mj-lt"/>
                  </a:rPr>
                  <a:t>To change section numbers:</a:t>
                </a:r>
              </a:p>
              <a:p>
                <a:r>
                  <a:rPr lang="en-AU" sz="1200"/>
                  <a:t>Under the home menu in the ribbon, in the paragraph section 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AU" sz="1200"/>
                  <a:t>click on the drop down </a:t>
                </a:r>
                <a:br>
                  <a:rPr lang="en-AU" sz="1200"/>
                </a:br>
                <a:r>
                  <a:rPr lang="en-AU" sz="1200"/>
                  <a:t>arrow in ‘numbering’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AU" sz="1200"/>
                  <a:t>Select ‘ bullets and numbering’</a:t>
                </a:r>
              </a:p>
              <a:p>
                <a:pPr marL="342900" indent="-342900">
                  <a:buFont typeface="+mj-lt"/>
                  <a:buAutoNum type="arabicPeriod"/>
                </a:pPr>
                <a:r>
                  <a:rPr lang="en-AU" sz="1200"/>
                  <a:t>Use the arrows to change the starting number</a:t>
                </a:r>
              </a:p>
            </p:txBody>
          </p:sp>
          <p:pic>
            <p:nvPicPr>
              <p:cNvPr id="11" name="Picture 10">
                <a:extLst>
                  <a:ext uri="{FF2B5EF4-FFF2-40B4-BE49-F238E27FC236}">
                    <a16:creationId xmlns:a16="http://schemas.microsoft.com/office/drawing/2014/main" id="{4FADC299-9D73-4378-8685-7AA568051F5D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2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b="1484"/>
              <a:stretch/>
            </p:blipFill>
            <p:spPr>
              <a:xfrm>
                <a:off x="-3171150" y="3510960"/>
                <a:ext cx="2685425" cy="2371641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  <p:pic>
            <p:nvPicPr>
              <p:cNvPr id="13" name="Picture 12">
                <a:extLst>
                  <a:ext uri="{FF2B5EF4-FFF2-40B4-BE49-F238E27FC236}">
                    <a16:creationId xmlns:a16="http://schemas.microsoft.com/office/drawing/2014/main" id="{2787472E-40D7-41A4-A982-885F3602FE7E}"/>
                  </a:ext>
                </a:extLst>
              </p:cNvPr>
              <p:cNvPicPr>
                <a:picLocks noChangeAspect="1"/>
              </p:cNvPicPr>
              <p:nvPr userDrawn="1"/>
            </p:nvPicPr>
            <p:blipFill>
              <a:blip r:embed="rId3"/>
              <a:stretch>
                <a:fillRect/>
              </a:stretch>
            </p:blipFill>
            <p:spPr>
              <a:xfrm>
                <a:off x="-1207427" y="2529854"/>
                <a:ext cx="361950" cy="276225"/>
              </a:xfrm>
              <a:prstGeom prst="rect">
                <a:avLst/>
              </a:prstGeom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p:spPr>
          </p:pic>
        </p:grpSp>
        <p:sp>
          <p:nvSpPr>
            <p:cNvPr id="9" name="Freeform: Shape 8">
              <a:extLst>
                <a:ext uri="{FF2B5EF4-FFF2-40B4-BE49-F238E27FC236}">
                  <a16:creationId xmlns:a16="http://schemas.microsoft.com/office/drawing/2014/main" id="{2F04C6E6-4C6D-4DD2-B635-1FB94ED2615D}"/>
                </a:ext>
              </a:extLst>
            </p:cNvPr>
            <p:cNvSpPr/>
            <p:nvPr userDrawn="1"/>
          </p:nvSpPr>
          <p:spPr>
            <a:xfrm>
              <a:off x="-3213913" y="4327923"/>
              <a:ext cx="2685425" cy="2371641"/>
            </a:xfrm>
            <a:custGeom>
              <a:avLst/>
              <a:gdLst>
                <a:gd name="connsiteX0" fmla="*/ 1769003 w 2685425"/>
                <a:gd name="connsiteY0" fmla="*/ 1701685 h 2371641"/>
                <a:gd name="connsiteX1" fmla="*/ 1769003 w 2685425"/>
                <a:gd name="connsiteY1" fmla="*/ 1900861 h 2371641"/>
                <a:gd name="connsiteX2" fmla="*/ 2571117 w 2685425"/>
                <a:gd name="connsiteY2" fmla="*/ 1900861 h 2371641"/>
                <a:gd name="connsiteX3" fmla="*/ 2571117 w 2685425"/>
                <a:gd name="connsiteY3" fmla="*/ 1701685 h 2371641"/>
                <a:gd name="connsiteX4" fmla="*/ 0 w 2685425"/>
                <a:gd name="connsiteY4" fmla="*/ 0 h 2371641"/>
                <a:gd name="connsiteX5" fmla="*/ 2685425 w 2685425"/>
                <a:gd name="connsiteY5" fmla="*/ 0 h 2371641"/>
                <a:gd name="connsiteX6" fmla="*/ 2685425 w 2685425"/>
                <a:gd name="connsiteY6" fmla="*/ 2371641 h 2371641"/>
                <a:gd name="connsiteX7" fmla="*/ 0 w 2685425"/>
                <a:gd name="connsiteY7" fmla="*/ 2371641 h 237164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685425" h="2371641">
                  <a:moveTo>
                    <a:pt x="1769003" y="1701685"/>
                  </a:moveTo>
                  <a:lnTo>
                    <a:pt x="1769003" y="1900861"/>
                  </a:lnTo>
                  <a:lnTo>
                    <a:pt x="2571117" y="1900861"/>
                  </a:lnTo>
                  <a:lnTo>
                    <a:pt x="2571117" y="1701685"/>
                  </a:lnTo>
                  <a:close/>
                  <a:moveTo>
                    <a:pt x="0" y="0"/>
                  </a:moveTo>
                  <a:lnTo>
                    <a:pt x="2685425" y="0"/>
                  </a:lnTo>
                  <a:lnTo>
                    <a:pt x="2685425" y="2371641"/>
                  </a:lnTo>
                  <a:lnTo>
                    <a:pt x="0" y="2371641"/>
                  </a:lnTo>
                  <a:close/>
                </a:path>
              </a:pathLst>
            </a:custGeom>
            <a:solidFill>
              <a:schemeClr val="accent1">
                <a:alpha val="4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AU"/>
            </a:p>
          </p:txBody>
        </p:sp>
      </p:grpSp>
      <p:pic>
        <p:nvPicPr>
          <p:cNvPr id="12" name="Graphic 11">
            <a:extLst>
              <a:ext uri="{FF2B5EF4-FFF2-40B4-BE49-F238E27FC236}">
                <a16:creationId xmlns:a16="http://schemas.microsoft.com/office/drawing/2014/main" id="{BF96AAAE-75EA-46C8-B13B-C8959C3D50F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67459" y="682683"/>
            <a:ext cx="2056571" cy="909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461929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2.svg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26" Type="http://schemas.openxmlformats.org/officeDocument/2006/relationships/slideLayout" Target="../slideLayouts/slideLayout45.xml"/><Relationship Id="rId3" Type="http://schemas.openxmlformats.org/officeDocument/2006/relationships/slideLayout" Target="../slideLayouts/slideLayout22.xml"/><Relationship Id="rId21" Type="http://schemas.openxmlformats.org/officeDocument/2006/relationships/slideLayout" Target="../slideLayouts/slideLayout40.xml"/><Relationship Id="rId34" Type="http://schemas.openxmlformats.org/officeDocument/2006/relationships/image" Target="../media/image1.png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slideLayout" Target="../slideLayouts/slideLayout44.xml"/><Relationship Id="rId33" Type="http://schemas.openxmlformats.org/officeDocument/2006/relationships/theme" Target="../theme/theme2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0" Type="http://schemas.openxmlformats.org/officeDocument/2006/relationships/slideLayout" Target="../slideLayouts/slideLayout39.xml"/><Relationship Id="rId29" Type="http://schemas.openxmlformats.org/officeDocument/2006/relationships/slideLayout" Target="../slideLayouts/slideLayout48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24" Type="http://schemas.openxmlformats.org/officeDocument/2006/relationships/slideLayout" Target="../slideLayouts/slideLayout43.xml"/><Relationship Id="rId32" Type="http://schemas.openxmlformats.org/officeDocument/2006/relationships/slideLayout" Target="../slideLayouts/slideLayout51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slideLayout" Target="../slideLayouts/slideLayout42.xml"/><Relationship Id="rId28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31" Type="http://schemas.openxmlformats.org/officeDocument/2006/relationships/slideLayout" Target="../slideLayouts/slideLayout50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slideLayout" Target="../slideLayouts/slideLayout41.xml"/><Relationship Id="rId27" Type="http://schemas.openxmlformats.org/officeDocument/2006/relationships/slideLayout" Target="../slideLayouts/slideLayout46.xml"/><Relationship Id="rId30" Type="http://schemas.openxmlformats.org/officeDocument/2006/relationships/slideLayout" Target="../slideLayouts/slideLayout49.xml"/><Relationship Id="rId35" Type="http://schemas.openxmlformats.org/officeDocument/2006/relationships/image" Target="../media/image2.svg"/><Relationship Id="rId8" Type="http://schemas.openxmlformats.org/officeDocument/2006/relationships/slideLayout" Target="../slideLayouts/slideLayout2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F4BCDC79-F19C-4996-97B9-031B9D626192}"/>
              </a:ext>
            </a:extLst>
          </p:cNvPr>
          <p:cNvPicPr>
            <a:picLocks noChangeAspect="1"/>
          </p:cNvPicPr>
          <p:nvPr userDrawn="1"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10523582" y="6291737"/>
            <a:ext cx="827044" cy="365808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B5407B-B9C6-4986-9ADC-3ACB103199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200" y="6254234"/>
            <a:ext cx="189154" cy="18466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fld id="{EBE266AF-210D-4B9E-92F6-EF999B290F31}" type="slidenum">
              <a:rPr lang="en-AU" smtClean="0"/>
              <a:pPr/>
              <a:t>‹#›</a:t>
            </a:fld>
            <a:endParaRPr lang="en-AU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5B23442-EC64-4D34-88F4-4ED56C1CA4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592264"/>
            <a:ext cx="10512425" cy="4422772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29DDD960-3D2C-411B-8D2E-6172825E61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549275"/>
            <a:ext cx="10512424" cy="76834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38460896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712" r:id="rId18"/>
    <p:sldLayoutId id="2147483713" r:id="rId19"/>
  </p:sldLayoutIdLst>
  <p:hf hdr="0" dt="0"/>
  <p:txStyles>
    <p:titleStyle>
      <a:lvl1pPr algn="l" defTabSz="914400" rtl="0" eaLnBrk="1" latinLnBrk="0" hangingPunct="1">
        <a:lnSpc>
          <a:spcPts val="3500"/>
        </a:lnSpc>
        <a:spcBef>
          <a:spcPct val="0"/>
        </a:spcBef>
        <a:buNone/>
        <a:defRPr sz="3600" kern="1200" cap="none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2000" kern="1200">
          <a:solidFill>
            <a:schemeClr val="tx2"/>
          </a:solidFill>
          <a:latin typeface="+mn-lt"/>
          <a:ea typeface="+mn-ea"/>
          <a:cs typeface="Segoe UI Semibold" panose="020B0702040204020203" pitchFamily="34" charset="0"/>
        </a:defRPr>
      </a:lvl1pPr>
      <a:lvl2pPr marL="268288" indent="-268288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3"/>
        </a:buClr>
        <a:buFont typeface="Wingdings" panose="05000000000000000000" pitchFamily="2" charset="2"/>
        <a:buChar char="§"/>
        <a:tabLst/>
        <a:defRPr sz="2000" kern="1200">
          <a:solidFill>
            <a:schemeClr val="tx2"/>
          </a:solidFill>
          <a:latin typeface="+mn-lt"/>
          <a:ea typeface="+mn-ea"/>
          <a:cs typeface="Segoe UI Semibold" panose="020B0702040204020203" pitchFamily="34" charset="0"/>
        </a:defRPr>
      </a:lvl2pPr>
      <a:lvl3pPr marL="444500" indent="-176213" algn="l" defTabSz="914400" rtl="0" eaLnBrk="1" latinLnBrk="0" hangingPunct="1">
        <a:lnSpc>
          <a:spcPct val="10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lang="en-US" sz="1800" kern="1200" dirty="0">
          <a:solidFill>
            <a:schemeClr val="tx2"/>
          </a:solidFill>
          <a:latin typeface="+mn-lt"/>
          <a:ea typeface="+mn-ea"/>
          <a:cs typeface="+mn-cs"/>
        </a:defRPr>
      </a:lvl3pPr>
      <a:lvl4pPr marL="631825" indent="-204788" algn="l" defTabSz="914400" rtl="0" eaLnBrk="1" latinLnBrk="0" hangingPunct="1">
        <a:lnSpc>
          <a:spcPct val="100000"/>
        </a:lnSpc>
        <a:spcBef>
          <a:spcPts val="400"/>
        </a:spcBef>
        <a:buClr>
          <a:schemeClr val="accent3"/>
        </a:buClr>
        <a:buFont typeface="Segoe UI Light" panose="020B0502040204020203" pitchFamily="34" charset="0"/>
        <a:buChar char="-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1200"/>
        </a:spcBef>
        <a:buClr>
          <a:schemeClr val="accent3"/>
        </a:buClr>
        <a:buFont typeface="Segoe UI Light" panose="020B0502040204020203" pitchFamily="34" charset="0"/>
        <a:buNone/>
        <a:defRPr lang="en-AU" sz="1000" kern="1200" dirty="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CB5407B-B9C6-4986-9ADC-3ACB103199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38200" y="6254234"/>
            <a:ext cx="298602" cy="184666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>
              <a:defRPr sz="1200">
                <a:solidFill>
                  <a:schemeClr val="tx2"/>
                </a:solidFill>
              </a:defRPr>
            </a:lvl1pPr>
          </a:lstStyle>
          <a:p>
            <a:fld id="{EBE266AF-210D-4B9E-92F6-EF999B290F31}" type="slidenum">
              <a:rPr lang="en-AU" smtClean="0"/>
              <a:pPr/>
              <a:t>‹#›</a:t>
            </a:fld>
            <a:endParaRPr lang="en-AU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AAF79D1-5821-4B46-9AEB-BC3243606DAB}"/>
              </a:ext>
            </a:extLst>
          </p:cNvPr>
          <p:cNvCxnSpPr>
            <a:cxnSpLocks/>
          </p:cNvCxnSpPr>
          <p:nvPr userDrawn="1"/>
        </p:nvCxnSpPr>
        <p:spPr>
          <a:xfrm>
            <a:off x="838200" y="366244"/>
            <a:ext cx="718226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5B23442-EC64-4D34-88F4-4ED56C1CA43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592264"/>
            <a:ext cx="10512425" cy="442277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Title Placeholder 3">
            <a:extLst>
              <a:ext uri="{FF2B5EF4-FFF2-40B4-BE49-F238E27FC236}">
                <a16:creationId xmlns:a16="http://schemas.microsoft.com/office/drawing/2014/main" id="{29DDD960-3D2C-411B-8D2E-6172825E61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549275"/>
            <a:ext cx="10512424" cy="76834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53E5F7F0-7D1E-4488-88F0-DA5E2A32B9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31706" y="6265776"/>
            <a:ext cx="9042622" cy="161583"/>
          </a:xfrm>
          <a:prstGeom prst="rect">
            <a:avLst/>
          </a:prstGeom>
          <a:solidFill>
            <a:schemeClr val="bg1"/>
          </a:solidFill>
          <a:effectLst>
            <a:outerShdw dist="12700" dir="10800000" algn="ctr" rotWithShape="0">
              <a:schemeClr val="tx2">
                <a:lumMod val="50000"/>
                <a:lumOff val="50000"/>
              </a:schemeClr>
            </a:outerShdw>
          </a:effectLst>
        </p:spPr>
        <p:txBody>
          <a:bodyPr vert="horz" wrap="square" lIns="72000" tIns="0" rIns="0" bIns="0" rtlCol="0" anchor="ctr">
            <a:noAutofit/>
          </a:bodyPr>
          <a:lstStyle>
            <a:lvl1pPr>
              <a:defRPr lang="en-AU" sz="1000" smtClean="0">
                <a:solidFill>
                  <a:schemeClr val="tx2"/>
                </a:solidFill>
              </a:defRPr>
            </a:lvl1pPr>
          </a:lstStyle>
          <a:p>
            <a:r>
              <a:rPr lang="en-AU"/>
              <a:t>MACHC20-07.5 - 5 Dec 2019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1EBE303-DE72-4223-8BB4-7013A3C2589E}"/>
              </a:ext>
            </a:extLst>
          </p:cNvPr>
          <p:cNvSpPr txBox="1"/>
          <p:nvPr userDrawn="1"/>
        </p:nvSpPr>
        <p:spPr>
          <a:xfrm>
            <a:off x="-2685425" y="5561736"/>
            <a:ext cx="268542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>
                <a:latin typeface="+mj-lt"/>
              </a:rPr>
              <a:t>To edit the footer text:</a:t>
            </a:r>
          </a:p>
          <a:p>
            <a:r>
              <a:rPr lang="en-AU" sz="1200"/>
              <a:t>Go to insert header and footer under the Insert</a:t>
            </a:r>
            <a:r>
              <a:rPr lang="en-AU" sz="1200" baseline="0"/>
              <a:t> tab and replace the “Footer text”, then click “Apply” for the current slide or “Apply to All” for all slides. Note that Divider slides do not contain footers.</a:t>
            </a:r>
            <a:endParaRPr lang="en-AU" sz="120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DF04FC6-E1CE-4276-B862-6F508ECA9403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10523582" y="6291737"/>
            <a:ext cx="827044" cy="365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43769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  <p:sldLayoutId id="2147483695" r:id="rId17"/>
    <p:sldLayoutId id="2147483696" r:id="rId18"/>
    <p:sldLayoutId id="2147483697" r:id="rId19"/>
    <p:sldLayoutId id="2147483698" r:id="rId20"/>
    <p:sldLayoutId id="2147483699" r:id="rId21"/>
    <p:sldLayoutId id="2147483700" r:id="rId22"/>
    <p:sldLayoutId id="2147483701" r:id="rId23"/>
    <p:sldLayoutId id="2147483702" r:id="rId24"/>
    <p:sldLayoutId id="2147483703" r:id="rId25"/>
    <p:sldLayoutId id="2147483704" r:id="rId26"/>
    <p:sldLayoutId id="2147483705" r:id="rId27"/>
    <p:sldLayoutId id="2147483706" r:id="rId28"/>
    <p:sldLayoutId id="2147483708" r:id="rId29"/>
    <p:sldLayoutId id="2147483714" r:id="rId30"/>
    <p:sldLayoutId id="2147483715" r:id="rId31"/>
    <p:sldLayoutId id="2147483716" r:id="rId32"/>
  </p:sldLayoutIdLst>
  <p:hf hdr="0" dt="0"/>
  <p:txStyles>
    <p:titleStyle>
      <a:lvl1pPr algn="l" defTabSz="914400" rtl="0" eaLnBrk="1" latinLnBrk="0" hangingPunct="1">
        <a:lnSpc>
          <a:spcPts val="3500"/>
        </a:lnSpc>
        <a:spcBef>
          <a:spcPct val="0"/>
        </a:spcBef>
        <a:buNone/>
        <a:defRPr sz="3600" kern="1200" cap="none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2000" kern="1200">
          <a:solidFill>
            <a:schemeClr val="tx2"/>
          </a:solidFill>
          <a:latin typeface="+mn-lt"/>
          <a:ea typeface="+mn-ea"/>
          <a:cs typeface="Segoe UI Semibold" panose="020B0702040204020203" pitchFamily="34" charset="0"/>
        </a:defRPr>
      </a:lvl1pPr>
      <a:lvl2pPr marL="268288" indent="-268288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3"/>
        </a:buClr>
        <a:buFont typeface="Wingdings" panose="05000000000000000000" pitchFamily="2" charset="2"/>
        <a:buChar char="§"/>
        <a:tabLst/>
        <a:defRPr sz="2000" kern="1200">
          <a:solidFill>
            <a:schemeClr val="tx2"/>
          </a:solidFill>
          <a:latin typeface="+mn-lt"/>
          <a:ea typeface="+mn-ea"/>
          <a:cs typeface="Segoe UI Semibold" panose="020B0702040204020203" pitchFamily="34" charset="0"/>
        </a:defRPr>
      </a:lvl2pPr>
      <a:lvl3pPr marL="444500" indent="-176213" algn="l" defTabSz="914400" rtl="0" eaLnBrk="1" latinLnBrk="0" hangingPunct="1">
        <a:lnSpc>
          <a:spcPct val="100000"/>
        </a:lnSpc>
        <a:spcBef>
          <a:spcPts val="500"/>
        </a:spcBef>
        <a:buClr>
          <a:schemeClr val="accent3"/>
        </a:buClr>
        <a:buFont typeface="Arial" panose="020B0604020202020204" pitchFamily="34" charset="0"/>
        <a:buChar char="•"/>
        <a:defRPr lang="en-US" sz="1800" kern="1200" dirty="0">
          <a:solidFill>
            <a:schemeClr val="tx2"/>
          </a:solidFill>
          <a:latin typeface="+mn-lt"/>
          <a:ea typeface="+mn-ea"/>
          <a:cs typeface="+mn-cs"/>
        </a:defRPr>
      </a:lvl3pPr>
      <a:lvl4pPr marL="631825" indent="-204788" algn="l" defTabSz="914400" rtl="0" eaLnBrk="1" latinLnBrk="0" hangingPunct="1">
        <a:lnSpc>
          <a:spcPct val="100000"/>
        </a:lnSpc>
        <a:spcBef>
          <a:spcPts val="400"/>
        </a:spcBef>
        <a:buClr>
          <a:schemeClr val="accent3"/>
        </a:buClr>
        <a:buFont typeface="Segoe UI Light" panose="020B0502040204020203" pitchFamily="34" charset="0"/>
        <a:buChar char="-"/>
        <a:defRPr lang="en-US" sz="1600" kern="1200" dirty="0">
          <a:solidFill>
            <a:schemeClr val="tx2"/>
          </a:solidFill>
          <a:latin typeface="+mn-lt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1200"/>
        </a:spcBef>
        <a:buClr>
          <a:schemeClr val="accent3"/>
        </a:buClr>
        <a:buFont typeface="Segoe UI Light" panose="020B0502040204020203" pitchFamily="34" charset="0"/>
        <a:buNone/>
        <a:defRPr lang="en-AU" sz="1000" kern="1200" dirty="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46">
          <p15:clr>
            <a:srgbClr val="F26B43"/>
          </p15:clr>
        </p15:guide>
        <p15:guide id="2" pos="529">
          <p15:clr>
            <a:srgbClr val="F26B43"/>
          </p15:clr>
        </p15:guide>
        <p15:guide id="3" pos="7151">
          <p15:clr>
            <a:srgbClr val="F26B43"/>
          </p15:clr>
        </p15:guide>
        <p15:guide id="4" orient="horz" pos="3789">
          <p15:clr>
            <a:srgbClr val="F26B43"/>
          </p15:clr>
        </p15:guide>
        <p15:guide id="5" orient="horz" pos="4053">
          <p15:clr>
            <a:srgbClr val="F26B43"/>
          </p15:clr>
        </p15:guide>
        <p15:guide id="6" orient="horz" pos="3956">
          <p15:clr>
            <a:srgbClr val="F26B43"/>
          </p15:clr>
        </p15:guide>
        <p15:guide id="7" orient="horz" pos="830">
          <p15:clr>
            <a:srgbClr val="F26B43"/>
          </p15:clr>
        </p15:guide>
        <p15:guide id="8" orient="horz" pos="1003">
          <p15:clr>
            <a:srgbClr val="F26B43"/>
          </p15:clr>
        </p15:guide>
        <p15:guide id="9" orient="horz" pos="21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30.xml"/><Relationship Id="rId4" Type="http://schemas.openxmlformats.org/officeDocument/2006/relationships/image" Target="../media/image20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31.xml"/><Relationship Id="rId5" Type="http://schemas.openxmlformats.org/officeDocument/2006/relationships/image" Target="../media/image24.jpeg"/><Relationship Id="rId4" Type="http://schemas.openxmlformats.org/officeDocument/2006/relationships/image" Target="../media/image23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3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3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30.xml"/><Relationship Id="rId5" Type="http://schemas.openxmlformats.org/officeDocument/2006/relationships/image" Target="../media/image31.jpeg"/><Relationship Id="rId4" Type="http://schemas.openxmlformats.org/officeDocument/2006/relationships/image" Target="../media/image30.jpe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3" Type="http://schemas.openxmlformats.org/officeDocument/2006/relationships/image" Target="../media/image33.jpeg"/><Relationship Id="rId7" Type="http://schemas.openxmlformats.org/officeDocument/2006/relationships/image" Target="../media/image37.emf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36.emf"/><Relationship Id="rId5" Type="http://schemas.openxmlformats.org/officeDocument/2006/relationships/image" Target="../media/image35.emf"/><Relationship Id="rId10" Type="http://schemas.openxmlformats.org/officeDocument/2006/relationships/image" Target="../media/image40.emf"/><Relationship Id="rId4" Type="http://schemas.openxmlformats.org/officeDocument/2006/relationships/image" Target="../media/image34.jpeg"/><Relationship Id="rId9" Type="http://schemas.openxmlformats.org/officeDocument/2006/relationships/image" Target="../media/image39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59C554F1-AB54-47F4-9C87-511F69595D07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02B3558-CA8C-44BC-B9C6-8E9007E1183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67459" y="2275003"/>
            <a:ext cx="11390503" cy="4392497"/>
          </a:xfrm>
        </p:spPr>
        <p:txBody>
          <a:bodyPr/>
          <a:lstStyle/>
          <a:p>
            <a:r>
              <a:rPr lang="en-AU" dirty="0">
                <a:effectLst>
                  <a:outerShdw blurRad="50800" dist="50800" dir="5400000" algn="ctr" rotWithShape="0">
                    <a:srgbClr val="000000">
                      <a:alpha val="25000"/>
                    </a:srgbClr>
                  </a:outerShdw>
                </a:effectLst>
              </a:rPr>
              <a:t>MACHC 20</a:t>
            </a:r>
          </a:p>
          <a:p>
            <a:endParaRPr lang="en-AU" sz="2800" dirty="0">
              <a:effectLst>
                <a:outerShdw blurRad="50800" dist="50800" dir="5400000" algn="ctr" rotWithShape="0">
                  <a:srgbClr val="000000">
                    <a:alpha val="25000"/>
                  </a:srgbClr>
                </a:outerShdw>
              </a:effectLst>
            </a:endParaRPr>
          </a:p>
          <a:p>
            <a:r>
              <a:rPr lang="en-AU" sz="2800" dirty="0">
                <a:effectLst>
                  <a:outerShdw blurRad="50800" dist="50800" dir="5400000" algn="ctr" rotWithShape="0">
                    <a:srgbClr val="000000">
                      <a:alpha val="25000"/>
                    </a:srgbClr>
                  </a:outerShdw>
                </a:effectLst>
              </a:rPr>
              <a:t>4-6 </a:t>
            </a:r>
            <a:r>
              <a:rPr lang="en-AU" sz="2800" dirty="0"/>
              <a:t>Dec</a:t>
            </a:r>
            <a:r>
              <a:rPr lang="en-AU" sz="2800" dirty="0">
                <a:effectLst>
                  <a:outerShdw blurRad="50800" dist="50800" dir="5400000" algn="ctr" rotWithShape="0">
                    <a:srgbClr val="000000">
                      <a:alpha val="25000"/>
                    </a:srgbClr>
                  </a:outerShdw>
                </a:effectLst>
              </a:rPr>
              <a:t> 2019  Santo Domingo, Dominican Republic</a:t>
            </a:r>
          </a:p>
          <a:p>
            <a:endParaRPr lang="en-AU" sz="2800" dirty="0">
              <a:effectLst>
                <a:outerShdw blurRad="50800" dist="50800" dir="5400000" algn="ctr" rotWithShape="0">
                  <a:srgbClr val="000000">
                    <a:alpha val="25000"/>
                  </a:srgbClr>
                </a:outerShdw>
              </a:effectLst>
            </a:endParaRPr>
          </a:p>
          <a:p>
            <a:r>
              <a:rPr lang="en-AU" sz="2800" dirty="0">
                <a:effectLst>
                  <a:outerShdw blurRad="50800" dist="50800" dir="5400000" algn="ctr" rotWithShape="0">
                    <a:srgbClr val="000000">
                      <a:alpha val="25000"/>
                    </a:srgbClr>
                  </a:outerShdw>
                </a:effectLst>
              </a:rPr>
              <a:t>Doc: </a:t>
            </a:r>
            <a:r>
              <a:rPr lang="en-AU" sz="28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CHC</a:t>
            </a:r>
            <a:r>
              <a:rPr lang="en-AU" sz="2800" dirty="0">
                <a:effectLst>
                  <a:outerShdw blurRad="50800" dist="50800" dir="5400000" algn="ctr" rotWithShape="0">
                    <a:srgbClr val="000000">
                      <a:alpha val="25000"/>
                    </a:srgbClr>
                  </a:outerShdw>
                </a:effectLst>
              </a:rPr>
              <a:t>20-07.5</a:t>
            </a:r>
          </a:p>
          <a:p>
            <a:endParaRPr lang="en-AU" sz="2800" dirty="0">
              <a:effectLst>
                <a:outerShdw blurRad="50800" dist="50800" dir="5400000" algn="ctr" rotWithShape="0">
                  <a:srgbClr val="000000">
                    <a:alpha val="25000"/>
                  </a:srgbClr>
                </a:outerShdw>
              </a:effectLst>
            </a:endParaRPr>
          </a:p>
          <a:p>
            <a:endParaRPr lang="en-AU" sz="2800" dirty="0">
              <a:effectLst>
                <a:outerShdw blurRad="50800" dist="50800" dir="5400000" algn="ctr" rotWithShape="0">
                  <a:srgbClr val="000000">
                    <a:alpha val="25000"/>
                  </a:srgbClr>
                </a:outerShdw>
              </a:effectLst>
            </a:endParaRPr>
          </a:p>
          <a:p>
            <a:endParaRPr lang="en-AU" sz="2800" dirty="0">
              <a:effectLst>
                <a:outerShdw blurRad="50800" dist="50800" dir="5400000" algn="ctr" rotWithShape="0">
                  <a:srgbClr val="000000">
                    <a:alpha val="25000"/>
                  </a:srgbClr>
                </a:outerShdw>
              </a:effectLst>
            </a:endParaRPr>
          </a:p>
          <a:p>
            <a:r>
              <a:rPr lang="en-AU" sz="4000" dirty="0">
                <a:effectLst>
                  <a:outerShdw blurRad="50800" dist="50800" dir="5400000" algn="ctr" rotWithShape="0">
                    <a:srgbClr val="000000">
                      <a:alpha val="25000"/>
                    </a:srgbClr>
                  </a:outerShdw>
                </a:effectLst>
              </a:rPr>
              <a:t>Modern Hydrographic Surveys as a Disaster Mitigation Tool</a:t>
            </a:r>
            <a:endParaRPr lang="en-AU" sz="4000" dirty="0">
              <a:ln w="1270">
                <a:solidFill>
                  <a:schemeClr val="accent1"/>
                </a:solidFill>
              </a:ln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51C9A12B-7A3A-49D9-B249-5C3D6A9A964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AU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392345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3B6DCB7-7795-4345-A022-C921EA248E7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27149" y="4818118"/>
            <a:ext cx="4768851" cy="234954"/>
          </a:xfrm>
        </p:spPr>
        <p:txBody>
          <a:bodyPr>
            <a:normAutofit fontScale="92500" lnSpcReduction="20000"/>
          </a:bodyPr>
          <a:lstStyle/>
          <a:p>
            <a:r>
              <a:rPr lang="en-GB" dirty="0"/>
              <a:t>+1 228 365 0906 (M)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8CCF9AA-E438-4925-938F-139F74EF215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GB" dirty="0"/>
              <a:t>dventura@fugro.com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2FF873-8F7F-4006-8301-AC34EFE46A0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>
            <a:normAutofit fontScale="92500" lnSpcReduction="20000"/>
          </a:bodyPr>
          <a:lstStyle/>
          <a:p>
            <a:r>
              <a:rPr lang="en-GB" dirty="0"/>
              <a:t>https://www.fugro.com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DB813B2-771D-4CC0-B951-87F80146A12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254750"/>
            <a:ext cx="360363" cy="184150"/>
          </a:xfrm>
        </p:spPr>
        <p:txBody>
          <a:bodyPr/>
          <a:lstStyle/>
          <a:p>
            <a:fld id="{EBE266AF-210D-4B9E-92F6-EF999B290F31}" type="slidenum">
              <a:rPr lang="en-AU" smtClean="0"/>
              <a:pPr/>
              <a:t>10</a:t>
            </a:fld>
            <a:endParaRPr lang="en-AU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4E7000E-AB39-4551-B7C5-53FD9EB03C13}"/>
              </a:ext>
            </a:extLst>
          </p:cNvPr>
          <p:cNvSpPr txBox="1"/>
          <p:nvPr/>
        </p:nvSpPr>
        <p:spPr>
          <a:xfrm>
            <a:off x="805823" y="4261707"/>
            <a:ext cx="23581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>
                <a:solidFill>
                  <a:schemeClr val="bg1"/>
                </a:solidFill>
              </a:rPr>
              <a:t>Don Ventura</a:t>
            </a:r>
          </a:p>
        </p:txBody>
      </p:sp>
      <p:pic>
        <p:nvPicPr>
          <p:cNvPr id="11" name="Picture 10" descr="A large ship in a body of water&#10;&#10;Description automatically generated">
            <a:extLst>
              <a:ext uri="{FF2B5EF4-FFF2-40B4-BE49-F238E27FC236}">
                <a16:creationId xmlns:a16="http://schemas.microsoft.com/office/drawing/2014/main" id="{5F2C8433-A4F2-44D8-ADD8-44EDF7F670A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0" y="2039882"/>
            <a:ext cx="5695715" cy="3794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9116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E1527CF-BD12-4852-A23A-C8180B92BE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scussio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FB37CB-60D4-4A3E-BA68-0B133EC0945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AU"/>
              <a:t>MACHC20-07.5 - 5 Dec 2019</a:t>
            </a:r>
            <a:endParaRPr lang="en-AU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2A10222-79EB-4484-B480-7D05A21F3B7D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BE266AF-210D-4B9E-92F6-EF999B290F31}" type="slidenum">
              <a:rPr lang="en-AU" smtClean="0"/>
              <a:pPr/>
              <a:t>2</a:t>
            </a:fld>
            <a:endParaRPr lang="en-AU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129D7E9A-E32D-46DD-90CF-0D2C46448AB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903788" y="573933"/>
            <a:ext cx="6448424" cy="3388467"/>
          </a:xfrm>
        </p:spPr>
        <p:txBody>
          <a:bodyPr/>
          <a:lstStyle/>
          <a:p>
            <a:pPr marL="342900" lvl="0" indent="-34290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What’s different about modern hydrographic surveys?</a:t>
            </a:r>
          </a:p>
          <a:p>
            <a:pPr marL="342900" lvl="0" indent="-34290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What can we do with the data to mitigate natural disasters affecting coastal regions?</a:t>
            </a:r>
          </a:p>
          <a:p>
            <a:pPr marL="342900" lvl="0" indent="-34290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Who needs the data?</a:t>
            </a:r>
          </a:p>
          <a:p>
            <a:pPr marL="342900" lvl="0" indent="-342900">
              <a:lnSpc>
                <a:spcPct val="110000"/>
              </a:lnSpc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sz="2400" dirty="0">
                <a:solidFill>
                  <a:schemeClr val="tx1"/>
                </a:solidFill>
              </a:rPr>
              <a:t>How might we plan surveys to help in the mitigation process?</a:t>
            </a:r>
            <a:endParaRPr lang="en-US" dirty="0">
              <a:solidFill>
                <a:schemeClr val="tx1"/>
              </a:solidFill>
            </a:endParaRPr>
          </a:p>
          <a:p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2D4ED934-1950-4623-BF24-E38A9C94D661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1" y="1559272"/>
            <a:ext cx="3227387" cy="2101115"/>
          </a:xfrm>
          <a:prstGeom prst="rect">
            <a:avLst/>
          </a:prstGeom>
        </p:spPr>
      </p:pic>
      <p:pic>
        <p:nvPicPr>
          <p:cNvPr id="11" name="Picture 10" descr="A picture containing person, wall, man, standing&#10;&#10;Description automatically generated">
            <a:extLst>
              <a:ext uri="{FF2B5EF4-FFF2-40B4-BE49-F238E27FC236}">
                <a16:creationId xmlns:a16="http://schemas.microsoft.com/office/drawing/2014/main" id="{55B990FB-355F-44A4-AC34-FE0BE0AF39D1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3818600"/>
            <a:ext cx="3227387" cy="2145869"/>
          </a:xfrm>
          <a:prstGeom prst="rect">
            <a:avLst/>
          </a:prstGeom>
        </p:spPr>
      </p:pic>
      <p:pic>
        <p:nvPicPr>
          <p:cNvPr id="12" name="Picture 11" descr="A group of people sitting at a table with a computer&#10;&#10;Description automatically generated">
            <a:extLst>
              <a:ext uri="{FF2B5EF4-FFF2-40B4-BE49-F238E27FC236}">
                <a16:creationId xmlns:a16="http://schemas.microsoft.com/office/drawing/2014/main" id="{C5B149A2-C63D-4A84-9220-0477C5C0FB7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26415" y="3962400"/>
            <a:ext cx="3227387" cy="21539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597936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Content Placeholder 8" descr="A person sitting at a desk in front of a computer&#10;&#10;Description automatically generated">
            <a:extLst>
              <a:ext uri="{FF2B5EF4-FFF2-40B4-BE49-F238E27FC236}">
                <a16:creationId xmlns:a16="http://schemas.microsoft.com/office/drawing/2014/main" id="{854EB06D-D00C-48FE-8933-08A74AE04C29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4692" y="3840153"/>
            <a:ext cx="3270896" cy="2336235"/>
          </a:xfrm>
        </p:spPr>
      </p:pic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E26B0A9-75F8-4C39-A29B-4C0D41C940D7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ydrographic data is a form of geo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e can now acquire</a:t>
            </a:r>
            <a:r>
              <a:rPr lang="en-US" baseline="0" dirty="0"/>
              <a:t> our geodata with a combination of complementary technolog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aseline="0" dirty="0"/>
              <a:t>We can now acquire our geodata from a combination of different platform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aseline="0" dirty="0"/>
              <a:t>We can create seamless data across the land-water bounda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aseline="0" dirty="0"/>
              <a:t>We can generate products and information in a variety of formats and on datums to suit the custom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baseline="0" dirty="0"/>
              <a:t>Stakeholders (customers) can access the data held and maintained by the hydrographic agency</a:t>
            </a:r>
            <a:endParaRPr lang="en-US" dirty="0"/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E328DC4-58BF-4090-86E3-A9D6C79E463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at’s different about modern hydrographic surveys?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75A2B40-E217-4067-8CF2-5111C42BD3F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noProof="0"/>
              <a:t>MACHC20-07.5 - 5 Dec 2019</a:t>
            </a:r>
            <a:endParaRPr lang="en-GB" noProof="0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8AD9136-06E2-48D8-BBED-97957082AB2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BE266AF-210D-4B9E-92F6-EF999B290F31}" type="slidenum">
              <a:rPr lang="en-AU" smtClean="0"/>
              <a:pPr/>
              <a:t>3</a:t>
            </a:fld>
            <a:endParaRPr lang="en-AU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2C93C18E-FA33-4FA1-9E74-A83FA71471B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15767" y="4492321"/>
            <a:ext cx="2186077" cy="1682187"/>
          </a:xfrm>
          <a:prstGeom prst="rect">
            <a:avLst/>
          </a:prstGeom>
        </p:spPr>
      </p:pic>
      <p:pic>
        <p:nvPicPr>
          <p:cNvPr id="14" name="Picture 13" descr="A small boat in a body of water&#10;&#10;Description automatically generated">
            <a:extLst>
              <a:ext uri="{FF2B5EF4-FFF2-40B4-BE49-F238E27FC236}">
                <a16:creationId xmlns:a16="http://schemas.microsoft.com/office/drawing/2014/main" id="{82369EC7-D25C-41BA-A469-F46F59DA6DFA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8517" y="4491189"/>
            <a:ext cx="2524978" cy="1683319"/>
          </a:xfrm>
          <a:prstGeom prst="rect">
            <a:avLst/>
          </a:prstGeom>
        </p:spPr>
      </p:pic>
      <p:pic>
        <p:nvPicPr>
          <p:cNvPr id="16" name="Picture 15" descr="A large red ship in a body of water&#10;&#10;Description automatically generated">
            <a:extLst>
              <a:ext uri="{FF2B5EF4-FFF2-40B4-BE49-F238E27FC236}">
                <a16:creationId xmlns:a16="http://schemas.microsoft.com/office/drawing/2014/main" id="{D8334C02-EDD0-40ED-8605-52500E4F20A3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94669" y="4491189"/>
            <a:ext cx="2244425" cy="1683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2071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Content Placeholder 9" descr="A picture containing text, map&#10;&#10;Description automatically generated">
            <a:extLst>
              <a:ext uri="{FF2B5EF4-FFF2-40B4-BE49-F238E27FC236}">
                <a16:creationId xmlns:a16="http://schemas.microsoft.com/office/drawing/2014/main" id="{503C5700-952B-4E3A-9649-C8E8F91F753B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3454291"/>
            <a:ext cx="3281506" cy="2560748"/>
          </a:xfr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287920-6969-4E7D-8856-E438A753CC6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905375" y="733738"/>
            <a:ext cx="6448424" cy="5441106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We can establish a more consistently-acquired and accurate geo-dataset….the baselin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We can map the geophysical and geological constituents of the coas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We can map the biological constituents of the coast such as </a:t>
            </a:r>
            <a:r>
              <a:rPr lang="en-US" dirty="0" err="1"/>
              <a:t>aquaflora</a:t>
            </a:r>
            <a:r>
              <a:rPr lang="en-US" dirty="0"/>
              <a:t> and fauna, coastal vegetation and native animal species requiring protec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We can merge these data to create different products for different stakeholders</a:t>
            </a:r>
          </a:p>
          <a:p>
            <a:pPr marL="342900" lvl="0" indent="-342900"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292929"/>
                </a:solidFill>
              </a:rPr>
              <a:t>We can fuel modern, digital coastal process models such as flood inundat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Using and comparing to the baseline, we can detect, quantify and monitor CHAN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Using the CHANGE data, we can provide robust arguments for remedial work, support and funding</a:t>
            </a:r>
          </a:p>
          <a:p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467F9F2-7B1B-4BDE-9526-33A6185844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545366"/>
            <a:ext cx="3396915" cy="4106845"/>
          </a:xfrm>
        </p:spPr>
        <p:txBody>
          <a:bodyPr/>
          <a:lstStyle/>
          <a:p>
            <a:r>
              <a:rPr lang="en-US" dirty="0"/>
              <a:t>What can we do with the data to mitigate natural disasters affecting coastal regions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3507A2E-9DEF-4E4A-98D9-8D84BE9106C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AU"/>
              <a:t>MACHC20-07.5 - 5 Dec 2019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AF99D0F-83ED-4511-BDFA-A9DDAFB6B397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BE266AF-210D-4B9E-92F6-EF999B290F31}" type="slidenum">
              <a:rPr lang="en-AU" smtClean="0"/>
              <a:pPr/>
              <a:t>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427938893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8523E33-D07E-4217-A073-F44AB30914C0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>
              <a:spcBef>
                <a:spcPts val="0"/>
              </a:spcBef>
            </a:pPr>
            <a:r>
              <a:rPr lang="en-US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ly those who can maintain and manage it, but…</a:t>
            </a:r>
          </a:p>
          <a:p>
            <a:pPr lvl="0">
              <a:spcBef>
                <a:spcPts val="0"/>
              </a:spcBef>
            </a:pPr>
            <a:r>
              <a:rPr lang="en-US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o needs the </a:t>
            </a:r>
            <a:r>
              <a:rPr lang="en-US" b="1" i="1" u="sng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rmation??</a:t>
            </a:r>
          </a:p>
          <a:p>
            <a:pPr marL="342900" lvl="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ts of stakeholders here:</a:t>
            </a:r>
          </a:p>
          <a:p>
            <a:pPr marL="800100" lvl="1" indent="-342900">
              <a:spcBef>
                <a:spcPts val="0"/>
              </a:spcBef>
              <a:buClrTx/>
            </a:pPr>
            <a:r>
              <a:rPr lang="en-US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ydrographic offices</a:t>
            </a:r>
          </a:p>
          <a:p>
            <a:pPr marL="800100" lvl="1" indent="-342900">
              <a:spcBef>
                <a:spcPts val="0"/>
              </a:spcBef>
              <a:buClrTx/>
            </a:pPr>
            <a:r>
              <a:rPr lang="en-US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ergency preparedness agencies</a:t>
            </a:r>
          </a:p>
          <a:p>
            <a:pPr marL="800100" lvl="1" indent="-342900">
              <a:spcBef>
                <a:spcPts val="0"/>
              </a:spcBef>
              <a:buClrTx/>
            </a:pPr>
            <a:r>
              <a:rPr lang="en-US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vironmental agencies</a:t>
            </a:r>
          </a:p>
          <a:p>
            <a:pPr marL="800100" lvl="1" indent="-342900">
              <a:spcBef>
                <a:spcPts val="0"/>
              </a:spcBef>
              <a:buClrTx/>
            </a:pPr>
            <a:r>
              <a:rPr lang="en-US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rategic planning teams</a:t>
            </a:r>
          </a:p>
          <a:p>
            <a:pPr marL="800100" lvl="1" indent="-342900">
              <a:spcBef>
                <a:spcPts val="0"/>
              </a:spcBef>
              <a:buClrTx/>
            </a:pPr>
            <a:r>
              <a:rPr lang="en-US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astal engineering agencies and companies</a:t>
            </a:r>
          </a:p>
          <a:p>
            <a:pPr marL="800100" lvl="1" indent="-342900">
              <a:spcBef>
                <a:spcPts val="0"/>
              </a:spcBef>
              <a:buClrTx/>
            </a:pPr>
            <a:r>
              <a:rPr lang="en-US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d agencies</a:t>
            </a:r>
          </a:p>
          <a:p>
            <a:pPr marL="800100" lvl="1" indent="-342900">
              <a:spcBef>
                <a:spcPts val="0"/>
              </a:spcBef>
              <a:buClrTx/>
            </a:pPr>
            <a:r>
              <a:rPr lang="en-US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tional financial institutions</a:t>
            </a:r>
          </a:p>
          <a:p>
            <a:pPr marL="800100" lvl="1" indent="-342900">
              <a:spcBef>
                <a:spcPts val="0"/>
              </a:spcBef>
              <a:buClrTx/>
            </a:pPr>
            <a:r>
              <a:rPr lang="en-US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tc</a:t>
            </a:r>
            <a:r>
              <a:rPr lang="en-US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……..</a:t>
            </a:r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167D231-B2D4-4761-BB1C-5D37235356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Who needs the data?</a:t>
            </a:r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CA9FFD3A-36C2-41A7-BAC3-F3C9A5C584A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GB" noProof="0"/>
              <a:t>MACHC20-07.5 - 5 Dec 2019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3CDDAE7-10AE-4C54-AF14-ECF6D6A8CA9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BE266AF-210D-4B9E-92F6-EF999B290F31}" type="slidenum">
              <a:rPr lang="en-AU" smtClean="0"/>
              <a:pPr/>
              <a:t>5</a:t>
            </a:fld>
            <a:endParaRPr lang="en-AU"/>
          </a:p>
        </p:txBody>
      </p:sp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6968848C-E0D3-47DC-910E-9E66BA49236D}"/>
              </a:ext>
            </a:extLst>
          </p:cNvPr>
          <p:cNvSpPr txBox="1">
            <a:spLocks/>
          </p:cNvSpPr>
          <p:nvPr/>
        </p:nvSpPr>
        <p:spPr>
          <a:xfrm>
            <a:off x="5092083" y="545365"/>
            <a:ext cx="6261716" cy="3851998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" name="Content Placeholder 14" descr="A person sitting at a desk using a computer&#10;&#10;Description automatically generated">
            <a:extLst>
              <a:ext uri="{FF2B5EF4-FFF2-40B4-BE49-F238E27FC236}">
                <a16:creationId xmlns:a16="http://schemas.microsoft.com/office/drawing/2014/main" id="{2E7A11C0-D417-4962-A30E-5F5069978B8F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6614" y="1790700"/>
            <a:ext cx="3122981" cy="2076450"/>
          </a:xfrm>
        </p:spPr>
      </p:pic>
      <p:pic>
        <p:nvPicPr>
          <p:cNvPr id="17" name="Picture 16" descr="A person sitting at a desk in front of a computer&#10;&#10;Description automatically generated">
            <a:extLst>
              <a:ext uri="{FF2B5EF4-FFF2-40B4-BE49-F238E27FC236}">
                <a16:creationId xmlns:a16="http://schemas.microsoft.com/office/drawing/2014/main" id="{430689CC-F68E-4570-8280-194E942CFFB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6613" y="4016484"/>
            <a:ext cx="3122981" cy="2076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16617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38CD1C6A-B810-4A4D-8935-A2B9FAFA28C1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199" y="3709625"/>
            <a:ext cx="3227386" cy="2305414"/>
          </a:xfr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E030F22-34E2-49A5-A533-C4E5762E76AB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If we baseline an area or region, we can immediately monitor CHAN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CHANGE drives future survey prioritization and inclusion of projects in the national survey progra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The ability to capture the entire CHANGE picture along an affected area of coast, both above and below the water, generates the survey planning necessar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Smart planning leads to smart decision making based on modern, dependable data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/>
              <a:t>Remedial work is better directed and quicker to approv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4D1D3DA-2470-4760-991A-E827E52191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w might we plan surveys to help in the mitigation process?</a:t>
            </a:r>
            <a:br>
              <a:rPr lang="en-US" dirty="0"/>
            </a:b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B2BF46F-07C4-49EB-B83F-9E975586398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AU"/>
              <a:t>MACHC20-07.5 - 5 Dec 2019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730D26-6041-4B0E-9F4A-5CF46B0C6CDF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EBE266AF-210D-4B9E-92F6-EF999B290F31}" type="slidenum">
              <a:rPr lang="en-AU" smtClean="0"/>
              <a:pPr/>
              <a:t>6</a:t>
            </a:fld>
            <a:endParaRPr lang="en-AU"/>
          </a:p>
        </p:txBody>
      </p:sp>
      <p:pic>
        <p:nvPicPr>
          <p:cNvPr id="10" name="Picture 9" descr="A group of people on a beach near a body of water&#10;&#10;Description automatically generated">
            <a:extLst>
              <a:ext uri="{FF2B5EF4-FFF2-40B4-BE49-F238E27FC236}">
                <a16:creationId xmlns:a16="http://schemas.microsoft.com/office/drawing/2014/main" id="{97ECFFB8-6AB5-435F-B22E-0DE21C6C7B2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4099" y="4358028"/>
            <a:ext cx="2217484" cy="1657011"/>
          </a:xfrm>
          <a:prstGeom prst="rect">
            <a:avLst/>
          </a:prstGeom>
        </p:spPr>
      </p:pic>
      <p:pic>
        <p:nvPicPr>
          <p:cNvPr id="12" name="Picture 11" descr="A truck traveling down a dirt road&#10;&#10;Description automatically generated">
            <a:extLst>
              <a:ext uri="{FF2B5EF4-FFF2-40B4-BE49-F238E27FC236}">
                <a16:creationId xmlns:a16="http://schemas.microsoft.com/office/drawing/2014/main" id="{146757DE-FDEC-4E62-B487-5251D0A9B6D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71604" y="4358028"/>
            <a:ext cx="2527194" cy="1657011"/>
          </a:xfrm>
          <a:prstGeom prst="rect">
            <a:avLst/>
          </a:prstGeom>
        </p:spPr>
      </p:pic>
      <p:pic>
        <p:nvPicPr>
          <p:cNvPr id="14" name="Picture 13" descr="A large body of water&#10;&#10;Description automatically generated">
            <a:extLst>
              <a:ext uri="{FF2B5EF4-FFF2-40B4-BE49-F238E27FC236}">
                <a16:creationId xmlns:a16="http://schemas.microsoft.com/office/drawing/2014/main" id="{D1A0B17D-5FB2-42D1-B787-A8719B54C82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9768819" y="4358028"/>
            <a:ext cx="2217484" cy="16607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979735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10C0470-549D-423C-8B90-3421FB24AAE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63913" y="1896854"/>
            <a:ext cx="8977067" cy="3064291"/>
          </a:xfrm>
        </p:spPr>
        <p:txBody>
          <a:bodyPr/>
          <a:lstStyle/>
          <a:p>
            <a:pPr lvl="0"/>
            <a:r>
              <a:rPr lang="en-US" sz="3600" dirty="0">
                <a:solidFill>
                  <a:prstClr val="white"/>
                </a:solidFill>
              </a:rPr>
              <a:t>We work to improve lives in Latin America and the Caribbean. Through financial and technical support for countries working to reduce poverty and inequality, we help improve health and education, </a:t>
            </a:r>
            <a:r>
              <a:rPr lang="en-US" sz="3600" dirty="0">
                <a:solidFill>
                  <a:srgbClr val="FF0000"/>
                </a:solidFill>
              </a:rPr>
              <a:t>and advance infrastructure.</a:t>
            </a:r>
            <a:r>
              <a:rPr lang="en-US" sz="3600" dirty="0">
                <a:solidFill>
                  <a:prstClr val="white"/>
                </a:solidFill>
              </a:rPr>
              <a:t> </a:t>
            </a:r>
            <a:r>
              <a:rPr lang="en-US" sz="2800" dirty="0">
                <a:solidFill>
                  <a:prstClr val="white"/>
                </a:solidFill>
              </a:rPr>
              <a:t>(IDB Website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AE7E1E-3626-4C64-A8EF-B80ACDEF133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dirty="0"/>
              <a:t>(Client quote)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ABE1F16-0E79-4C92-863F-3742BD909D1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363913" y="1172224"/>
            <a:ext cx="869556" cy="724630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44934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10C0470-549D-423C-8B90-3421FB24AAE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351408" y="3569595"/>
            <a:ext cx="8977067" cy="1180699"/>
          </a:xfrm>
        </p:spPr>
        <p:txBody>
          <a:bodyPr/>
          <a:lstStyle/>
          <a:p>
            <a:pPr lvl="0"/>
            <a:r>
              <a:rPr lang="en-US" sz="4000" dirty="0">
                <a:solidFill>
                  <a:prstClr val="white"/>
                </a:solidFill>
              </a:rPr>
              <a:t>Together</a:t>
            </a:r>
            <a:r>
              <a:rPr lang="en-US" sz="4000" baseline="0" dirty="0">
                <a:solidFill>
                  <a:prstClr val="white"/>
                </a:solidFill>
              </a:rPr>
              <a:t> we create a safe and </a:t>
            </a:r>
            <a:r>
              <a:rPr lang="en-US" sz="4000" baseline="0" dirty="0" err="1">
                <a:solidFill>
                  <a:prstClr val="white"/>
                </a:solidFill>
              </a:rPr>
              <a:t>liveable</a:t>
            </a:r>
            <a:r>
              <a:rPr lang="en-US" sz="4000" baseline="0" dirty="0">
                <a:solidFill>
                  <a:prstClr val="white"/>
                </a:solidFill>
              </a:rPr>
              <a:t> world. </a:t>
            </a:r>
            <a:r>
              <a:rPr lang="en-US" sz="2800" baseline="0" dirty="0">
                <a:solidFill>
                  <a:prstClr val="white"/>
                </a:solidFill>
              </a:rPr>
              <a:t>(Fugro Mission Statement 2019)</a:t>
            </a:r>
            <a:endParaRPr lang="en-US" sz="2800" dirty="0">
              <a:solidFill>
                <a:prstClr val="white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AE7E1E-3626-4C64-A8EF-B80ACDEF133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en-GB" dirty="0"/>
              <a:t>(Client quote)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ABE1F16-0E79-4C92-863F-3742BD909D1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4764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33">
            <a:extLst>
              <a:ext uri="{FF2B5EF4-FFF2-40B4-BE49-F238E27FC236}">
                <a16:creationId xmlns:a16="http://schemas.microsoft.com/office/drawing/2014/main" id="{45F9852B-EC0E-4D17-94B0-FDFAFB3A0BE3}"/>
              </a:ext>
            </a:extLst>
          </p:cNvPr>
          <p:cNvSpPr txBox="1">
            <a:spLocks/>
          </p:cNvSpPr>
          <p:nvPr/>
        </p:nvSpPr>
        <p:spPr>
          <a:xfrm>
            <a:off x="4317446" y="4156947"/>
            <a:ext cx="950913" cy="868362"/>
          </a:xfrm>
          <a:prstGeom prst="rect">
            <a:avLst/>
          </a:prstGeom>
          <a:solidFill>
            <a:srgbClr val="00ACA9"/>
          </a:solidFill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 kern="1200">
                <a:solidFill>
                  <a:schemeClr val="accent4">
                    <a:alpha val="0"/>
                  </a:schemeClr>
                </a:solidFill>
                <a:latin typeface="+mn-lt"/>
                <a:ea typeface="+mn-ea"/>
                <a:cs typeface="Segoe UI Semibold" panose="020B0702040204020203" pitchFamily="34" charset="0"/>
              </a:defRPr>
            </a:lvl1pPr>
            <a:lvl2pPr marL="268288" indent="-2682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Segoe UI Semibold" panose="020B0702040204020203" pitchFamily="34" charset="0"/>
              </a:defRPr>
            </a:lvl2pPr>
            <a:lvl3pPr marL="444500" indent="-17621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31825" indent="-2047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Segoe UI Light" panose="020B0502040204020203" pitchFamily="34" charset="0"/>
              <a:buChar char="-"/>
              <a:defRPr lang="en-US" sz="16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accent3"/>
              </a:buClr>
              <a:buFont typeface="Segoe UI Light" panose="020B0502040204020203" pitchFamily="34" charset="0"/>
              <a:buNone/>
              <a:defRPr lang="en-AU" sz="10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AE10E6B-07CA-40F1-B164-A773563ED23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/>
              <a:t>MACHC20-07.5 - 5 Dec 2019</a:t>
            </a:r>
            <a:endParaRPr lang="en-AU" dirty="0"/>
          </a:p>
        </p:txBody>
      </p:sp>
      <p:pic>
        <p:nvPicPr>
          <p:cNvPr id="42" name="Picture Placeholder 41">
            <a:extLst>
              <a:ext uri="{FF2B5EF4-FFF2-40B4-BE49-F238E27FC236}">
                <a16:creationId xmlns:a16="http://schemas.microsoft.com/office/drawing/2014/main" id="{CAC8FEC0-FD65-4225-9C49-68CFBFA2299D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556" y="750"/>
            <a:ext cx="12192000" cy="5075825"/>
          </a:xfrm>
          <a:prstGeom prst="rect">
            <a:avLst/>
          </a:prstGeom>
        </p:spPr>
      </p:pic>
      <p:pic>
        <p:nvPicPr>
          <p:cNvPr id="43" name="Picture 42">
            <a:extLst>
              <a:ext uri="{FF2B5EF4-FFF2-40B4-BE49-F238E27FC236}">
                <a16:creationId xmlns:a16="http://schemas.microsoft.com/office/drawing/2014/main" id="{39E20C53-4A12-421B-A034-242D30433FF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30" y="0"/>
            <a:ext cx="12191999" cy="5075826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D74DC27C-8FBD-4321-8BBE-069F1EA7C9A3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8"/>
          <a:stretch/>
        </p:blipFill>
        <p:spPr>
          <a:xfrm>
            <a:off x="0" y="-13485"/>
            <a:ext cx="12207229" cy="5075825"/>
          </a:xfrm>
          <a:prstGeom prst="rect">
            <a:avLst/>
          </a:prstGeom>
        </p:spPr>
      </p:pic>
      <p:sp>
        <p:nvSpPr>
          <p:cNvPr id="30" name="Title 29">
            <a:extLst>
              <a:ext uri="{FF2B5EF4-FFF2-40B4-BE49-F238E27FC236}">
                <a16:creationId xmlns:a16="http://schemas.microsoft.com/office/drawing/2014/main" id="{53143270-88FE-4A41-8CBA-5E6B3D268E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ummary</a:t>
            </a:r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DA45F24E-2813-427E-B3C3-C9C2F690438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F82E1835-7683-4ACC-8E85-6A85E355187F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09595" y="5133131"/>
            <a:ext cx="3241675" cy="1154322"/>
          </a:xfrm>
        </p:spPr>
        <p:txBody>
          <a:bodyPr/>
          <a:lstStyle/>
          <a:p>
            <a:r>
              <a:rPr lang="en-US" dirty="0"/>
              <a:t>Investment</a:t>
            </a:r>
            <a:r>
              <a:rPr lang="en-US" baseline="0" dirty="0"/>
              <a:t> in hydrographic surveys can fuel better disaster mitigation strategies</a:t>
            </a:r>
            <a:endParaRPr lang="en-US" dirty="0"/>
          </a:p>
        </p:txBody>
      </p:sp>
      <p:sp>
        <p:nvSpPr>
          <p:cNvPr id="38" name="Text Placeholder 37">
            <a:extLst>
              <a:ext uri="{FF2B5EF4-FFF2-40B4-BE49-F238E27FC236}">
                <a16:creationId xmlns:a16="http://schemas.microsoft.com/office/drawing/2014/main" id="{78EE5C71-F6B2-4C8C-8545-EDC8685BD6B3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252115" y="5133131"/>
            <a:ext cx="3241675" cy="1294228"/>
          </a:xfrm>
        </p:spPr>
        <p:txBody>
          <a:bodyPr/>
          <a:lstStyle/>
          <a:p>
            <a:r>
              <a:rPr lang="en-US" dirty="0"/>
              <a:t>Seamless geodata provides a much clearer picture on wholesale impact and negative CHANGE </a:t>
            </a:r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EA2BF25E-501F-43D0-9254-4C75EC450E4B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894634" y="5133131"/>
            <a:ext cx="3455991" cy="1154322"/>
          </a:xfrm>
        </p:spPr>
        <p:txBody>
          <a:bodyPr/>
          <a:lstStyle/>
          <a:p>
            <a:r>
              <a:rPr lang="en-US" dirty="0"/>
              <a:t>Resulting information provides evidence for international aid agencies to help release timely funding and support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82BB4234-4C83-4B23-A7B1-F9F09BE327C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09595" y="4018302"/>
            <a:ext cx="950913" cy="86836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00982519-8F39-4A6D-897B-752EBAD45AC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52114" y="4039429"/>
            <a:ext cx="950913" cy="86836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35" name="Text Placeholder 34">
            <a:extLst>
              <a:ext uri="{FF2B5EF4-FFF2-40B4-BE49-F238E27FC236}">
                <a16:creationId xmlns:a16="http://schemas.microsoft.com/office/drawing/2014/main" id="{58A65A2B-3820-4C5F-87EB-073264B7D02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894633" y="4018302"/>
            <a:ext cx="950913" cy="868362"/>
          </a:xfrm>
        </p:spPr>
        <p:txBody>
          <a:bodyPr/>
          <a:lstStyle/>
          <a:p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3164AE5C-F40B-4C55-9C8B-F891AB0F659B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31788" y="5380804"/>
            <a:ext cx="539746" cy="538724"/>
          </a:xfrm>
          <a:prstGeom prst="rect">
            <a:avLst/>
          </a:prstGeom>
        </p:spPr>
      </p:pic>
      <p:pic>
        <p:nvPicPr>
          <p:cNvPr id="20" name="Content Placeholder 19">
            <a:extLst>
              <a:ext uri="{FF2B5EF4-FFF2-40B4-BE49-F238E27FC236}">
                <a16:creationId xmlns:a16="http://schemas.microsoft.com/office/drawing/2014/main" id="{59081EFF-0636-492E-99D7-61ADAAC006E0}"/>
              </a:ext>
            </a:extLst>
          </p:cNvPr>
          <p:cNvPicPr>
            <a:picLocks noGrp="1" noChangeAspect="1"/>
          </p:cNvPicPr>
          <p:nvPr>
            <p:ph sz="quarter" idx="31"/>
          </p:nvPr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00221" y="4164525"/>
            <a:ext cx="539746" cy="538724"/>
          </a:xfrm>
          <a:prstGeom prst="rect">
            <a:avLst/>
          </a:prstGeom>
        </p:spPr>
      </p:pic>
      <p:sp>
        <p:nvSpPr>
          <p:cNvPr id="24" name="Text Placeholder 33">
            <a:extLst>
              <a:ext uri="{FF2B5EF4-FFF2-40B4-BE49-F238E27FC236}">
                <a16:creationId xmlns:a16="http://schemas.microsoft.com/office/drawing/2014/main" id="{46ACE13F-D466-49FF-9DDE-1E3DDDE30299}"/>
              </a:ext>
            </a:extLst>
          </p:cNvPr>
          <p:cNvSpPr txBox="1">
            <a:spLocks/>
          </p:cNvSpPr>
          <p:nvPr/>
        </p:nvSpPr>
        <p:spPr>
          <a:xfrm>
            <a:off x="5260599" y="4039429"/>
            <a:ext cx="950913" cy="868362"/>
          </a:xfrm>
          <a:prstGeom prst="rect">
            <a:avLst/>
          </a:prstGeom>
          <a:solidFill>
            <a:srgbClr val="00ACA9"/>
          </a:solidFill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 kern="1200">
                <a:solidFill>
                  <a:schemeClr val="accent4">
                    <a:alpha val="0"/>
                  </a:schemeClr>
                </a:solidFill>
                <a:latin typeface="+mn-lt"/>
                <a:ea typeface="+mn-ea"/>
                <a:cs typeface="Segoe UI Semibold" panose="020B0702040204020203" pitchFamily="34" charset="0"/>
              </a:defRPr>
            </a:lvl1pPr>
            <a:lvl2pPr marL="268288" indent="-2682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Segoe UI Semibold" panose="020B0702040204020203" pitchFamily="34" charset="0"/>
              </a:defRPr>
            </a:lvl2pPr>
            <a:lvl3pPr marL="444500" indent="-17621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31825" indent="-2047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Segoe UI Light" panose="020B0502040204020203" pitchFamily="34" charset="0"/>
              <a:buChar char="-"/>
              <a:defRPr lang="en-US" sz="16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accent3"/>
              </a:buClr>
              <a:buFont typeface="Segoe UI Light" panose="020B0502040204020203" pitchFamily="34" charset="0"/>
              <a:buNone/>
              <a:defRPr lang="en-AU" sz="10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1983480C-0031-411C-AC4B-135EAD07DD48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5045" y="4147621"/>
            <a:ext cx="774127" cy="63412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5C0DEBD-2121-4A1C-84D2-C15D6F40ACC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BE266AF-210D-4B9E-92F6-EF999B290F31}" type="slidenum">
              <a:rPr lang="en-AU" smtClean="0"/>
              <a:pPr/>
              <a:t>9</a:t>
            </a:fld>
            <a:endParaRPr lang="en-AU"/>
          </a:p>
        </p:txBody>
      </p:sp>
      <p:pic>
        <p:nvPicPr>
          <p:cNvPr id="47" name="Content Placeholder 34">
            <a:extLst>
              <a:ext uri="{FF2B5EF4-FFF2-40B4-BE49-F238E27FC236}">
                <a16:creationId xmlns:a16="http://schemas.microsoft.com/office/drawing/2014/main" id="{11C2AAA4-F169-4009-9477-BF573F88539A}"/>
              </a:ext>
            </a:extLst>
          </p:cNvPr>
          <p:cNvPicPr>
            <a:picLocks noGrp="1" noChangeAspect="1"/>
          </p:cNvPicPr>
          <p:nvPr>
            <p:ph sz="quarter" idx="29"/>
          </p:nvPr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57697" y="4182360"/>
            <a:ext cx="539746" cy="540246"/>
          </a:xfr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8CD3834-EABF-4E91-83FC-217770CBD7BE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70856" y="4202314"/>
            <a:ext cx="530398" cy="542591"/>
          </a:xfrm>
          <a:prstGeom prst="rect">
            <a:avLst/>
          </a:prstGeom>
        </p:spPr>
      </p:pic>
      <p:sp>
        <p:nvSpPr>
          <p:cNvPr id="28" name="Text Placeholder 32">
            <a:extLst>
              <a:ext uri="{FF2B5EF4-FFF2-40B4-BE49-F238E27FC236}">
                <a16:creationId xmlns:a16="http://schemas.microsoft.com/office/drawing/2014/main" id="{6410AC3A-4D3B-40CD-8203-3E1901D3BE4F}"/>
              </a:ext>
            </a:extLst>
          </p:cNvPr>
          <p:cNvSpPr txBox="1">
            <a:spLocks/>
          </p:cNvSpPr>
          <p:nvPr/>
        </p:nvSpPr>
        <p:spPr>
          <a:xfrm>
            <a:off x="1658216" y="4018302"/>
            <a:ext cx="950913" cy="868362"/>
          </a:xfrm>
          <a:prstGeom prst="rect">
            <a:avLst/>
          </a:prstGeom>
          <a:solidFill>
            <a:schemeClr val="accent1"/>
          </a:solidFill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 kern="1200">
                <a:solidFill>
                  <a:schemeClr val="accent4">
                    <a:alpha val="0"/>
                  </a:schemeClr>
                </a:solidFill>
                <a:latin typeface="+mn-lt"/>
                <a:ea typeface="+mn-ea"/>
                <a:cs typeface="Segoe UI Semibold" panose="020B0702040204020203" pitchFamily="34" charset="0"/>
              </a:defRPr>
            </a:lvl1pPr>
            <a:lvl2pPr marL="268288" indent="-2682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Segoe UI Semibold" panose="020B0702040204020203" pitchFamily="34" charset="0"/>
              </a:defRPr>
            </a:lvl2pPr>
            <a:lvl3pPr marL="444500" indent="-17621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31825" indent="-2047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Segoe UI Light" panose="020B0502040204020203" pitchFamily="34" charset="0"/>
              <a:buChar char="-"/>
              <a:defRPr lang="en-US" sz="16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accent3"/>
              </a:buClr>
              <a:buFont typeface="Segoe UI Light" panose="020B0502040204020203" pitchFamily="34" charset="0"/>
              <a:buNone/>
              <a:defRPr lang="en-AU" sz="10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471B363F-CB2B-484E-A195-DD6C10E27E82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28300" y="4160148"/>
            <a:ext cx="785341" cy="613830"/>
          </a:xfrm>
          <a:prstGeom prst="rect">
            <a:avLst/>
          </a:prstGeom>
        </p:spPr>
      </p:pic>
      <p:sp>
        <p:nvSpPr>
          <p:cNvPr id="31" name="Text Placeholder 34">
            <a:extLst>
              <a:ext uri="{FF2B5EF4-FFF2-40B4-BE49-F238E27FC236}">
                <a16:creationId xmlns:a16="http://schemas.microsoft.com/office/drawing/2014/main" id="{37183B8D-81B3-4698-8AF0-9BB56056E3A4}"/>
              </a:ext>
            </a:extLst>
          </p:cNvPr>
          <p:cNvSpPr txBox="1">
            <a:spLocks/>
          </p:cNvSpPr>
          <p:nvPr/>
        </p:nvSpPr>
        <p:spPr>
          <a:xfrm>
            <a:off x="8945111" y="4018302"/>
            <a:ext cx="950913" cy="868362"/>
          </a:xfrm>
          <a:prstGeom prst="rect">
            <a:avLst/>
          </a:prstGeom>
          <a:solidFill>
            <a:srgbClr val="9DC193"/>
          </a:solidFill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 kern="1200">
                <a:solidFill>
                  <a:schemeClr val="accent4">
                    <a:alpha val="0"/>
                  </a:schemeClr>
                </a:solidFill>
                <a:latin typeface="+mn-lt"/>
                <a:ea typeface="+mn-ea"/>
                <a:cs typeface="Segoe UI Semibold" panose="020B0702040204020203" pitchFamily="34" charset="0"/>
              </a:defRPr>
            </a:lvl1pPr>
            <a:lvl2pPr marL="268288" indent="-268288" algn="l" defTabSz="914400" rtl="0" eaLnBrk="1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3"/>
              </a:buClr>
              <a:buFont typeface="Wingdings" panose="05000000000000000000" pitchFamily="2" charset="2"/>
              <a:buChar char="§"/>
              <a:tabLst/>
              <a:defRPr sz="2000" kern="1200">
                <a:solidFill>
                  <a:schemeClr val="tx2"/>
                </a:solidFill>
                <a:latin typeface="+mn-lt"/>
                <a:ea typeface="+mn-ea"/>
                <a:cs typeface="Segoe UI Semibold" panose="020B0702040204020203" pitchFamily="34" charset="0"/>
              </a:defRPr>
            </a:lvl2pPr>
            <a:lvl3pPr marL="444500" indent="-176213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3"/>
              </a:buClr>
              <a:buFont typeface="Arial" panose="020B0604020202020204" pitchFamily="34" charset="0"/>
              <a:buChar char="•"/>
              <a:defRPr lang="en-US" sz="18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631825" indent="-204788" algn="l" defTabSz="914400" rtl="0" eaLnBrk="1" latinLnBrk="0" hangingPunct="1">
              <a:lnSpc>
                <a:spcPct val="100000"/>
              </a:lnSpc>
              <a:spcBef>
                <a:spcPts val="400"/>
              </a:spcBef>
              <a:buClr>
                <a:schemeClr val="accent3"/>
              </a:buClr>
              <a:buFont typeface="Segoe UI Light" panose="020B0502040204020203" pitchFamily="34" charset="0"/>
              <a:buChar char="-"/>
              <a:defRPr lang="en-US" sz="16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Clr>
                <a:schemeClr val="accent3"/>
              </a:buClr>
              <a:buFont typeface="Segoe UI Light" panose="020B0502040204020203" pitchFamily="34" charset="0"/>
              <a:buNone/>
              <a:defRPr lang="en-AU" sz="10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dirty="0"/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282CAB26-00C1-457E-87ED-E4742378D29E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09101" y="4163849"/>
            <a:ext cx="622932" cy="621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14525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ugro Cover, Dividers, Quote, Thank you">
  <a:themeElements>
    <a:clrScheme name="Custom 11">
      <a:dk1>
        <a:sysClr val="windowText" lastClr="000000"/>
      </a:dk1>
      <a:lt1>
        <a:sysClr val="window" lastClr="FFFFFF"/>
      </a:lt1>
      <a:dk2>
        <a:srgbClr val="292929"/>
      </a:dk2>
      <a:lt2>
        <a:srgbClr val="D9D8D6"/>
      </a:lt2>
      <a:accent1>
        <a:srgbClr val="011E41"/>
      </a:accent1>
      <a:accent2>
        <a:srgbClr val="6788B1"/>
      </a:accent2>
      <a:accent3>
        <a:srgbClr val="479CAA"/>
      </a:accent3>
      <a:accent4>
        <a:srgbClr val="8CB680"/>
      </a:accent4>
      <a:accent5>
        <a:srgbClr val="D9BE89"/>
      </a:accent5>
      <a:accent6>
        <a:srgbClr val="D9D8D6"/>
      </a:accent6>
      <a:hlink>
        <a:srgbClr val="011E41"/>
      </a:hlink>
      <a:folHlink>
        <a:srgbClr val="479CAA"/>
      </a:folHlink>
    </a:clrScheme>
    <a:fontScheme name="Custom 4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FUG_001_TemplateFile_v9.potx" id="{021B14C0-D379-440B-89F0-D9B6F4901C92}" vid="{56BA50A4-54A0-4497-BD3B-BA4B3F891B5A}"/>
    </a:ext>
  </a:extLst>
</a:theme>
</file>

<file path=ppt/theme/theme2.xml><?xml version="1.0" encoding="utf-8"?>
<a:theme xmlns:a="http://schemas.openxmlformats.org/drawingml/2006/main" name="Fugro Content Slides">
  <a:themeElements>
    <a:clrScheme name="Custom 12">
      <a:dk1>
        <a:sysClr val="windowText" lastClr="000000"/>
      </a:dk1>
      <a:lt1>
        <a:sysClr val="window" lastClr="FFFFFF"/>
      </a:lt1>
      <a:dk2>
        <a:srgbClr val="292929"/>
      </a:dk2>
      <a:lt2>
        <a:srgbClr val="D9D8D6"/>
      </a:lt2>
      <a:accent1>
        <a:srgbClr val="011E41"/>
      </a:accent1>
      <a:accent2>
        <a:srgbClr val="6788B1"/>
      </a:accent2>
      <a:accent3>
        <a:srgbClr val="479CAA"/>
      </a:accent3>
      <a:accent4>
        <a:srgbClr val="8CB680"/>
      </a:accent4>
      <a:accent5>
        <a:srgbClr val="D9BE89"/>
      </a:accent5>
      <a:accent6>
        <a:srgbClr val="D9D8D6"/>
      </a:accent6>
      <a:hlink>
        <a:srgbClr val="011E41"/>
      </a:hlink>
      <a:folHlink>
        <a:srgbClr val="479CAA"/>
      </a:folHlink>
    </a:clrScheme>
    <a:fontScheme name="Custom 4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Brand presentation 010519.potx" id="{5CA71C73-B37B-49E0-B734-04633F8545F3}" vid="{BF1FDEED-AAD7-47BC-9D53-786BC673FAD8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200B4AB188BD64399E0D1C0086FF330" ma:contentTypeVersion="13" ma:contentTypeDescription="Create a new document." ma:contentTypeScope="" ma:versionID="c1db779f21e242757f7db577f8f962bf">
  <xsd:schema xmlns:xsd="http://www.w3.org/2001/XMLSchema" xmlns:xs="http://www.w3.org/2001/XMLSchema" xmlns:p="http://schemas.microsoft.com/office/2006/metadata/properties" xmlns:ns1="http://schemas.microsoft.com/sharepoint/v3" xmlns:ns3="9c7a3ae3-9114-4cc4-9b8d-049b2c5bdfa7" xmlns:ns4="16cd5c74-4608-4a41-a4b2-92434df6f18e" targetNamespace="http://schemas.microsoft.com/office/2006/metadata/properties" ma:root="true" ma:fieldsID="79ef8552a42fd56fa0b2c23f93d891a0" ns1:_="" ns3:_="" ns4:_="">
    <xsd:import namespace="http://schemas.microsoft.com/sharepoint/v3"/>
    <xsd:import namespace="9c7a3ae3-9114-4cc4-9b8d-049b2c5bdfa7"/>
    <xsd:import namespace="16cd5c74-4608-4a41-a4b2-92434df6f18e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Location" minOccurs="0"/>
                <xsd:element ref="ns1:_ip_UnifiedCompliancePolicyProperties" minOccurs="0"/>
                <xsd:element ref="ns1:_ip_UnifiedCompliancePolicyUIAction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EventHashCode" minOccurs="0"/>
                <xsd:element ref="ns3:MediaServiceGeneration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3" nillable="true" ma:displayName="Unified Compliance Policy Properties" ma:description="" ma:hidden="true" ma:internalName="_ip_UnifiedCompliancePolicyProperties">
      <xsd:simpleType>
        <xsd:restriction base="dms:Note"/>
      </xsd:simpleType>
    </xsd:element>
    <xsd:element name="_ip_UnifiedCompliancePolicyUIAction" ma:index="14" nillable="true" ma:displayName="Unified Compliance Policy UI Action" ma:description="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c7a3ae3-9114-4cc4-9b8d-049b2c5bdfa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description="" ma:internalName="MediaServiceAutoTags" ma:readOnly="true">
      <xsd:simpleType>
        <xsd:restriction base="dms:Text"/>
      </xsd:simpleType>
    </xsd:element>
    <xsd:element name="MediaServiceDateTaken" ma:index="11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Location" ma:index="12" nillable="true" ma:displayName="MediaServiceLocation" ma:description="" ma:internalName="MediaServiceLocation" ma:readOnly="true">
      <xsd:simpleType>
        <xsd:restriction base="dms:Text"/>
      </xsd:simpleType>
    </xsd:element>
    <xsd:element name="MediaServiceOCR" ma:index="15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0" nillable="true" ma:displayName="MediaServiceGenerationTime" ma:hidden="true" ma:internalName="MediaServiceGenerationTim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cd5c74-4608-4a41-a4b2-92434df6f18e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8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A9A07482-6977-4363-B25C-98D2F0E5983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890EB7AD-8E42-4636-A4F5-16D09CDBEF2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9c7a3ae3-9114-4cc4-9b8d-049b2c5bdfa7"/>
    <ds:schemaRef ds:uri="16cd5c74-4608-4a41-a4b2-92434df6f18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04BF1162-ED3F-4FD6-B9D3-A1E9F946EFF5}">
  <ds:schemaRefs>
    <ds:schemaRef ds:uri="http://purl.org/dc/terms/"/>
    <ds:schemaRef ds:uri="http://www.w3.org/XML/1998/namespace"/>
    <ds:schemaRef ds:uri="http://purl.org/dc/dcmitype/"/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schemas.microsoft.com/sharepoint/v3"/>
    <ds:schemaRef ds:uri="16cd5c74-4608-4a41-a4b2-92434df6f18e"/>
    <ds:schemaRef ds:uri="http://schemas.microsoft.com/office/infopath/2007/PartnerControls"/>
    <ds:schemaRef ds:uri="http://schemas.openxmlformats.org/package/2006/metadata/core-properties"/>
    <ds:schemaRef ds:uri="9c7a3ae3-9114-4cc4-9b8d-049b2c5bdfa7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8191</TotalTime>
  <Words>558</Words>
  <Application>Microsoft Office PowerPoint</Application>
  <PresentationFormat>Widescreen</PresentationFormat>
  <Paragraphs>73</Paragraphs>
  <Slides>1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19" baseType="lpstr">
      <vt:lpstr>Arial</vt:lpstr>
      <vt:lpstr>Calibri</vt:lpstr>
      <vt:lpstr>Segoe UI</vt:lpstr>
      <vt:lpstr>Segoe UI Light</vt:lpstr>
      <vt:lpstr>Segoe UI Semibold</vt:lpstr>
      <vt:lpstr>Wingdings</vt:lpstr>
      <vt:lpstr>Fugro Cover, Dividers, Quote, Thank you</vt:lpstr>
      <vt:lpstr>Fugro Content Slides</vt:lpstr>
      <vt:lpstr>think-cell Slide</vt:lpstr>
      <vt:lpstr>PowerPoint Presentation</vt:lpstr>
      <vt:lpstr>Discussion</vt:lpstr>
      <vt:lpstr>What’s different about modern hydrographic surveys?</vt:lpstr>
      <vt:lpstr>What can we do with the data to mitigate natural disasters affecting coastal regions?</vt:lpstr>
      <vt:lpstr>Who needs the data?</vt:lpstr>
      <vt:lpstr>How might we plan surveys to help in the mitigation process? </vt:lpstr>
      <vt:lpstr>PowerPoint Presentation</vt:lpstr>
      <vt:lpstr>PowerPoint Presentation</vt:lpstr>
      <vt:lpstr>Summary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ugro RAMMS Presentation JALBTCX Workshop 2019</dc:title>
  <dc:creator>Todd Mitchell [Fugro]</dc:creator>
  <cp:lastModifiedBy>Alberto Costa Neves</cp:lastModifiedBy>
  <cp:revision>45</cp:revision>
  <dcterms:created xsi:type="dcterms:W3CDTF">2018-04-27T12:41:36Z</dcterms:created>
  <dcterms:modified xsi:type="dcterms:W3CDTF">2019-12-10T13:40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200B4AB188BD64399E0D1C0086FF330</vt:lpwstr>
  </property>
</Properties>
</file>